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2"/>
  </p:notesMasterIdLst>
  <p:handoutMasterIdLst>
    <p:handoutMasterId r:id="rId33"/>
  </p:handoutMasterIdLst>
  <p:sldIdLst>
    <p:sldId id="308" r:id="rId2"/>
    <p:sldId id="279" r:id="rId3"/>
    <p:sldId id="274" r:id="rId4"/>
    <p:sldId id="275" r:id="rId5"/>
    <p:sldId id="276" r:id="rId6"/>
    <p:sldId id="256" r:id="rId7"/>
    <p:sldId id="257" r:id="rId8"/>
    <p:sldId id="263" r:id="rId9"/>
    <p:sldId id="304" r:id="rId10"/>
    <p:sldId id="305" r:id="rId11"/>
    <p:sldId id="293" r:id="rId12"/>
    <p:sldId id="270" r:id="rId13"/>
    <p:sldId id="268" r:id="rId14"/>
    <p:sldId id="266" r:id="rId15"/>
    <p:sldId id="297" r:id="rId16"/>
    <p:sldId id="310" r:id="rId17"/>
    <p:sldId id="300" r:id="rId18"/>
    <p:sldId id="294" r:id="rId19"/>
    <p:sldId id="295" r:id="rId20"/>
    <p:sldId id="290" r:id="rId21"/>
    <p:sldId id="291" r:id="rId22"/>
    <p:sldId id="303" r:id="rId23"/>
    <p:sldId id="292" r:id="rId24"/>
    <p:sldId id="267" r:id="rId25"/>
    <p:sldId id="271" r:id="rId26"/>
    <p:sldId id="307" r:id="rId27"/>
    <p:sldId id="309" r:id="rId28"/>
    <p:sldId id="264" r:id="rId29"/>
    <p:sldId id="283" r:id="rId30"/>
    <p:sldId id="284" r:id="rId31"/>
  </p:sldIdLst>
  <p:sldSz cx="9144000" cy="6858000" type="screen4x3"/>
  <p:notesSz cx="6858000" cy="9945688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>
          <p15:clr>
            <a:srgbClr val="A4A3A4"/>
          </p15:clr>
        </p15:guide>
        <p15:guide id="2" pos="28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A567"/>
    <a:srgbClr val="BF6D2F"/>
    <a:srgbClr val="D96B27"/>
    <a:srgbClr val="7E0000"/>
    <a:srgbClr val="D7D1C9"/>
    <a:srgbClr val="D6D4CA"/>
    <a:srgbClr val="EFC347"/>
    <a:srgbClr val="D8D5C8"/>
    <a:srgbClr val="DB6A25"/>
    <a:srgbClr val="6D6D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00" autoAdjust="0"/>
    <p:restoredTop sz="75817" autoAdjust="0"/>
  </p:normalViewPr>
  <p:slideViewPr>
    <p:cSldViewPr>
      <p:cViewPr varScale="1">
        <p:scale>
          <a:sx n="88" d="100"/>
          <a:sy n="88" d="100"/>
        </p:scale>
        <p:origin x="2256" y="90"/>
      </p:cViewPr>
      <p:guideLst>
        <p:guide orient="horz" pos="3838"/>
        <p:guide pos="281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72"/>
    </p:cViewPr>
  </p:sorterViewPr>
  <p:notesViewPr>
    <p:cSldViewPr>
      <p:cViewPr varScale="1">
        <p:scale>
          <a:sx n="52" d="100"/>
          <a:sy n="52" d="100"/>
        </p:scale>
        <p:origin x="208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B11A40-C4A3-40C5-A3C4-03F6013BA196}" type="datetimeFigureOut">
              <a:rPr lang="sv-SE" smtClean="0"/>
              <a:t>2015-11-0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64B3E5-0DE4-4340-8BBB-51D4083E552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776071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B8966F-1FBA-4DB0-A4E0-50EBBD7A038F}" type="datetimeFigureOut">
              <a:rPr lang="sv-SE" smtClean="0"/>
              <a:t>2015-11-0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724202"/>
            <a:ext cx="5486400" cy="447556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9446678"/>
            <a:ext cx="2971800" cy="4972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0C8CFC-4766-48BE-BF46-052D72D045C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764105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Den</a:t>
            </a:r>
            <a:r>
              <a:rPr lang="sv-SE" baseline="0" dirty="0" smtClean="0"/>
              <a:t> här bildpresentationen utgår från innehållet i patientmaterialet </a:t>
            </a:r>
            <a:r>
              <a:rPr lang="sv-SE" i="1" baseline="0" dirty="0" smtClean="0"/>
              <a:t>Fakta – för dig som deltar i en typ 2-diabetesutbildning</a:t>
            </a:r>
            <a:r>
              <a:rPr lang="sv-SE" baseline="0" dirty="0" smtClean="0"/>
              <a:t>. Bekanta dig gärna med guiden innan </a:t>
            </a:r>
            <a:r>
              <a:rPr lang="sv-SE" baseline="0" smtClean="0"/>
              <a:t>du leder </a:t>
            </a:r>
            <a:r>
              <a:rPr lang="sv-SE" baseline="0" dirty="0" smtClean="0"/>
              <a:t>utbildningen. På varje bild i bildspelet hittar du sidhänvisningar till Faktaguiden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750830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ilden visar</a:t>
            </a:r>
            <a:r>
              <a:rPr lang="sv-SE" baseline="0" dirty="0" smtClean="0"/>
              <a:t> utvecklingen av åderförfettning och efterföljande risk för förträngning samt blodpropp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645279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ilden syftar</a:t>
            </a:r>
            <a:r>
              <a:rPr lang="sv-SE" baseline="0" dirty="0" smtClean="0"/>
              <a:t> till att visa kopplingen mellan fysisk aktivitet/bra mat och minskad risk för allvarliga diabeteskomplikationer. Kapitel 2, 3 och 4 ger en helhetsförståelse för denna viktiga koppling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997057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Kapitel 3 </a:t>
            </a:r>
            <a:r>
              <a:rPr lang="sv-SE" i="1" dirty="0" smtClean="0"/>
              <a:t>Fysisk aktivitet </a:t>
            </a:r>
            <a:r>
              <a:rPr lang="sv-SE" dirty="0" smtClean="0"/>
              <a:t>på sidorna </a:t>
            </a:r>
            <a:r>
              <a:rPr lang="sv-SE" baseline="0" dirty="0" smtClean="0"/>
              <a:t>12-17 i Faktaguiden är ett bra diskussionsunderlag tillsammans med denna bild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636609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Fysisk aktivitet har</a:t>
            </a:r>
            <a:r>
              <a:rPr lang="sv-SE" baseline="0" dirty="0" smtClean="0"/>
              <a:t> alltid effekt, intensitet och mängd avgör resultatet. Bilden beskrivs i kapitel 3 </a:t>
            </a:r>
            <a:r>
              <a:rPr lang="sv-SE" i="1" baseline="0" dirty="0" smtClean="0"/>
              <a:t>Fysisk aktivitet </a:t>
            </a:r>
            <a:r>
              <a:rPr lang="sv-SE" baseline="0" dirty="0" smtClean="0"/>
              <a:t>på sidan 14 i Faktaguiden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78425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SBU:s forskningssammanställning</a:t>
            </a:r>
            <a:r>
              <a:rPr lang="sv-SE" baseline="0" dirty="0" smtClean="0"/>
              <a:t> från 2010 (</a:t>
            </a:r>
            <a:r>
              <a:rPr lang="sv-SE" i="1" baseline="0" dirty="0" smtClean="0"/>
              <a:t>Mat vid diabetes</a:t>
            </a:r>
            <a:r>
              <a:rPr lang="sv-SE" baseline="0" dirty="0" smtClean="0"/>
              <a:t>) visar att ett flertal livsmedel har en skyddande effekt hos patienter med typ 2-diabetes. </a:t>
            </a:r>
          </a:p>
          <a:p>
            <a:r>
              <a:rPr lang="sv-SE" baseline="0" dirty="0" smtClean="0"/>
              <a:t>I kapitel 4 </a:t>
            </a:r>
            <a:r>
              <a:rPr lang="sv-SE" i="1" baseline="0" dirty="0" smtClean="0"/>
              <a:t>Mat och matvanor </a:t>
            </a:r>
            <a:r>
              <a:rPr lang="sv-SE" baseline="0" dirty="0" smtClean="0"/>
              <a:t>sidan 23 listas livsmedel som skyddar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5182206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I SBU:s sammanställning jämfördes även olika koster.</a:t>
            </a:r>
            <a:r>
              <a:rPr lang="sv-SE" baseline="0" dirty="0" smtClean="0"/>
              <a:t> Effekten av dessa koster beskrivs även i Socialstyrelsens skrift </a:t>
            </a:r>
            <a:r>
              <a:rPr lang="sv-SE" i="1" baseline="0" dirty="0" smtClean="0"/>
              <a:t>Kost vid diabetes – en vägledning för hälso- och sjukvården (2011)</a:t>
            </a:r>
            <a:r>
              <a:rPr lang="sv-SE" baseline="0" dirty="0" smtClean="0"/>
              <a:t>. Bilden ovan sammanfattar delar av vad man fann. Mer om skriften </a:t>
            </a:r>
            <a:r>
              <a:rPr lang="sv-SE" i="1" baseline="0" dirty="0" smtClean="0"/>
              <a:t>Kost vid diabetes </a:t>
            </a:r>
            <a:r>
              <a:rPr lang="sv-SE" i="0" baseline="0" dirty="0" smtClean="0"/>
              <a:t>läser du i </a:t>
            </a:r>
            <a:r>
              <a:rPr lang="sv-SE" baseline="0" dirty="0" smtClean="0"/>
              <a:t>utbildningspaketets Handledarmanual (Kapitel 5 </a:t>
            </a:r>
            <a:r>
              <a:rPr lang="sv-SE" i="1" baseline="0" dirty="0" smtClean="0"/>
              <a:t>Matens betydelse</a:t>
            </a:r>
            <a:r>
              <a:rPr lang="sv-SE" baseline="0" dirty="0" smtClean="0"/>
              <a:t>, sidorna 20-22)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35621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aseline="0" dirty="0" smtClean="0"/>
              <a:t>Bilden sammanfattar de koster som visats vara bra vid diabetes. Data baseras på SBU.S forskningssammanställning </a:t>
            </a:r>
            <a:r>
              <a:rPr lang="sv-SE" i="1" baseline="0" dirty="0" smtClean="0"/>
              <a:t>Mat vid diabetes</a:t>
            </a:r>
            <a:r>
              <a:rPr lang="sv-SE" baseline="0" dirty="0" smtClean="0"/>
              <a:t>. Effekten av dessa koster beskrivs även i Socialstyrelsens skrift </a:t>
            </a:r>
            <a:r>
              <a:rPr lang="sv-SE" i="1" baseline="0" dirty="0" smtClean="0"/>
              <a:t>Kost vid diabetes – en vägledning för hälso- och sjukvården</a:t>
            </a:r>
            <a:r>
              <a:rPr lang="sv-SE" baseline="0" dirty="0" smtClean="0"/>
              <a:t>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i="1" baseline="0" dirty="0" smtClean="0"/>
              <a:t>Mat vid diabetes </a:t>
            </a:r>
            <a:r>
              <a:rPr lang="sv-SE" baseline="0" dirty="0" smtClean="0"/>
              <a:t>(SBU) och </a:t>
            </a:r>
            <a:r>
              <a:rPr lang="sv-SE" i="1" baseline="0" dirty="0" smtClean="0"/>
              <a:t>Kost vid diabetes </a:t>
            </a:r>
            <a:r>
              <a:rPr lang="sv-SE" baseline="0" dirty="0" smtClean="0"/>
              <a:t>(Socialstyrelsen) finns också att ladda ner på respektive myndighets hemsida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12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Bilden</a:t>
            </a:r>
            <a:r>
              <a:rPr lang="sv-SE" baseline="0" dirty="0" smtClean="0"/>
              <a:t> visar ett exempel på hur kyckling, kolhydratkälla (här pasta) och grönsaker kan komponeras enligt ”</a:t>
            </a:r>
            <a:r>
              <a:rPr lang="sv-SE" baseline="0" dirty="0" err="1" smtClean="0"/>
              <a:t>Medelhavskosten</a:t>
            </a:r>
            <a:r>
              <a:rPr lang="sv-SE" baseline="0" dirty="0" smtClean="0"/>
              <a:t>”.</a:t>
            </a:r>
            <a:endParaRPr lang="sv-SE" dirty="0" smtClean="0"/>
          </a:p>
          <a:p>
            <a:r>
              <a:rPr lang="sv-SE" baseline="0" dirty="0" smtClean="0"/>
              <a:t>en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905169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ilden</a:t>
            </a:r>
            <a:r>
              <a:rPr lang="sv-SE" baseline="0" dirty="0" smtClean="0"/>
              <a:t> visar ett exempel på hur kyckling, kolhydratkälla (här potatis) och grönsaker kan komponeras enligt så kallad </a:t>
            </a:r>
            <a:r>
              <a:rPr lang="sv-SE" i="1" baseline="0" dirty="0" smtClean="0"/>
              <a:t>Måttlig lågkolhydratkost</a:t>
            </a:r>
            <a:r>
              <a:rPr lang="sv-SE" baseline="0" dirty="0" smtClean="0"/>
              <a:t>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90642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Bilden</a:t>
            </a:r>
            <a:r>
              <a:rPr lang="sv-SE" baseline="0" dirty="0" smtClean="0"/>
              <a:t> visar ett exempel på hur kyckling, kolhydratkälla (här potatis och bröd) och grönsaker kan komponeras enligt så kallad </a:t>
            </a:r>
            <a:r>
              <a:rPr lang="sv-SE" i="1" baseline="0" dirty="0" smtClean="0"/>
              <a:t>Traditionell diabeteskost</a:t>
            </a:r>
            <a:r>
              <a:rPr lang="sv-SE" baseline="0" dirty="0" smtClean="0"/>
              <a:t>.</a:t>
            </a:r>
            <a:endParaRPr lang="sv-SE" dirty="0" smtClean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756878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ilden kan användas vid samtal om vad gruppen</a:t>
            </a:r>
            <a:r>
              <a:rPr lang="sv-SE" baseline="0" dirty="0" smtClean="0"/>
              <a:t> tycker är viktigt att ta upp under utbildningen. Läs mer i kapitel 1 </a:t>
            </a:r>
            <a:r>
              <a:rPr lang="sv-SE" i="1" baseline="0" dirty="0" smtClean="0"/>
              <a:t>Grupputbildning </a:t>
            </a:r>
            <a:r>
              <a:rPr lang="sv-SE" baseline="0" dirty="0" smtClean="0"/>
              <a:t>på sidan 8 och 9. 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150966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Bilden</a:t>
            </a:r>
            <a:r>
              <a:rPr lang="sv-SE" baseline="0" dirty="0" smtClean="0"/>
              <a:t> visar ett exempel på hur kyckling, kolhydratkälla (här bulgur och bönor) och grönsaker samt frukt kan komponeras enligt så kallad </a:t>
            </a:r>
            <a:r>
              <a:rPr lang="sv-SE" i="1" baseline="0" dirty="0" smtClean="0"/>
              <a:t>Traditionell diabeteskost med lågt GI</a:t>
            </a:r>
            <a:r>
              <a:rPr lang="sv-SE" baseline="0" dirty="0" smtClean="0"/>
              <a:t>.</a:t>
            </a:r>
            <a:endParaRPr lang="sv-SE" dirty="0" smtClean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177046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ilden</a:t>
            </a:r>
            <a:r>
              <a:rPr lang="sv-SE" baseline="0" dirty="0" smtClean="0"/>
              <a:t> beskriver de koster som utifrån rådande forskningsläge inte rekommenderas vid diabetes av Socialstyrelsen 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48381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Bilden</a:t>
            </a:r>
            <a:r>
              <a:rPr lang="sv-SE" baseline="0" dirty="0" smtClean="0"/>
              <a:t> visar ett exempel på hur kyckling, ost, fet sås samt kolhydratkälla (här potatis) och grönsaker kan serveras enligt så kallad </a:t>
            </a:r>
            <a:r>
              <a:rPr lang="sv-SE" i="1" baseline="0" dirty="0" smtClean="0"/>
              <a:t>Extrem lågkolhydratkost</a:t>
            </a:r>
            <a:r>
              <a:rPr lang="sv-SE" baseline="0" dirty="0" smtClean="0"/>
              <a:t>. Här kommer en stor del av  </a:t>
            </a:r>
            <a:r>
              <a:rPr lang="sv-SE" baseline="0" dirty="0" err="1" smtClean="0"/>
              <a:t>kaloriimängden</a:t>
            </a:r>
            <a:r>
              <a:rPr lang="sv-SE" baseline="0" dirty="0" smtClean="0"/>
              <a:t> i rätten från pesto, ost samt olja i potatissalladen.</a:t>
            </a:r>
            <a:endParaRPr lang="sv-SE" dirty="0" smtClean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6872186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ilden beskriver exempel på hur</a:t>
            </a:r>
            <a:r>
              <a:rPr lang="sv-SE" baseline="0" dirty="0" smtClean="0"/>
              <a:t> man kan anpassa sin befintliga kost till att bli mer näringsriktig. Kapitlet </a:t>
            </a:r>
            <a:r>
              <a:rPr lang="sv-SE" i="1" baseline="0" dirty="0" smtClean="0"/>
              <a:t>Mat och matvanor</a:t>
            </a:r>
            <a:r>
              <a:rPr lang="sv-SE" baseline="0" dirty="0" smtClean="0"/>
              <a:t>, sidorna 19, 20 och 22 i Faktaguiden sammanfattar smarta livsmedelsval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2377019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Diskussionsunderlag som kan användas ihop med information om mat och vikt i kapitlet </a:t>
            </a:r>
            <a:r>
              <a:rPr lang="sv-SE" i="1" dirty="0" smtClean="0"/>
              <a:t>Mat och matvanor </a:t>
            </a:r>
            <a:r>
              <a:rPr lang="sv-SE" dirty="0" smtClean="0"/>
              <a:t>på sidorna</a:t>
            </a:r>
            <a:r>
              <a:rPr lang="sv-SE" baseline="0" dirty="0" smtClean="0"/>
              <a:t> 19-</a:t>
            </a:r>
            <a:r>
              <a:rPr lang="sv-SE" dirty="0" smtClean="0"/>
              <a:t>21, Faktaguiden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240296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Diskussionsunderlag som kan användas ihop med info på sidorna</a:t>
            </a:r>
            <a:r>
              <a:rPr lang="sv-SE" baseline="0" dirty="0" smtClean="0"/>
              <a:t> 19-</a:t>
            </a:r>
            <a:r>
              <a:rPr lang="sv-SE" dirty="0" smtClean="0"/>
              <a:t>21 i Faktaguiden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211322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Punkterna beskriver</a:t>
            </a:r>
            <a:r>
              <a:rPr lang="sv-SE" baseline="0" dirty="0" smtClean="0"/>
              <a:t> områden som tas upp i kapitel 5.</a:t>
            </a:r>
          </a:p>
          <a:p>
            <a:r>
              <a:rPr lang="sv-SE" baseline="0" dirty="0" smtClean="0"/>
              <a:t>Sömn: sidorna 24-25</a:t>
            </a:r>
          </a:p>
          <a:p>
            <a:r>
              <a:rPr lang="sv-SE" baseline="0" dirty="0" smtClean="0"/>
              <a:t>Stress: sidorna 26</a:t>
            </a:r>
          </a:p>
          <a:p>
            <a:r>
              <a:rPr lang="sv-SE" baseline="0" dirty="0" smtClean="0"/>
              <a:t>Enkla tips för friska fötter sidan 26 </a:t>
            </a:r>
          </a:p>
          <a:p>
            <a:r>
              <a:rPr lang="sv-SE" baseline="0" dirty="0" smtClean="0"/>
              <a:t>Effekt av rökstopp: sidan 27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8121130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ilden beskriver de prover</a:t>
            </a:r>
            <a:r>
              <a:rPr lang="sv-SE" baseline="0" dirty="0" smtClean="0"/>
              <a:t> och undersökningar som är aktuella vid typ 2-diabetes. Läs mer i kapitel 6 </a:t>
            </a:r>
            <a:r>
              <a:rPr lang="sv-SE" i="1" baseline="0" dirty="0" smtClean="0"/>
              <a:t>Koll på läget</a:t>
            </a:r>
            <a:r>
              <a:rPr lang="sv-SE" baseline="0" dirty="0" smtClean="0"/>
              <a:t>, sidorna 29-31. I kapitel 7 </a:t>
            </a:r>
            <a:r>
              <a:rPr lang="sv-SE" i="1" baseline="0" dirty="0" smtClean="0"/>
              <a:t>Viktigt att veta om diabetes</a:t>
            </a:r>
            <a:r>
              <a:rPr lang="sv-SE" baseline="0" dirty="0" smtClean="0"/>
              <a:t> beskrivs även betydelsen av ett bra blodsocker (sidorna 35-38), blodtryck (sidan 37) och blodfetter (sidan 37) . 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032006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ilden beskriver viktiga tecken på högt blodsocker och hur patienten bör agera vid sådana tecken.</a:t>
            </a:r>
            <a:r>
              <a:rPr lang="sv-SE" baseline="0" dirty="0" smtClean="0"/>
              <a:t> Läs mer i kapitel 7 </a:t>
            </a:r>
            <a:r>
              <a:rPr lang="sv-SE" i="1" baseline="0" dirty="0" smtClean="0"/>
              <a:t>Viktigt att veta vid diabetes,</a:t>
            </a:r>
            <a:r>
              <a:rPr lang="sv-SE" i="0" baseline="0" dirty="0" smtClean="0"/>
              <a:t> sidan 35.</a:t>
            </a:r>
            <a:endParaRPr lang="sv-SE" i="1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2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741334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Bilden beskriver viktiga tecken på lågt blodsocker och hur patienten bör agera vid tecken på lågt</a:t>
            </a:r>
            <a:r>
              <a:rPr lang="sv-SE" baseline="0" dirty="0" smtClean="0"/>
              <a:t> blodsocker</a:t>
            </a:r>
            <a:r>
              <a:rPr lang="sv-SE" dirty="0" smtClean="0"/>
              <a:t>.</a:t>
            </a:r>
            <a:r>
              <a:rPr lang="sv-SE" baseline="0" dirty="0" smtClean="0"/>
              <a:t> Läs mer i kapitel 7 </a:t>
            </a:r>
            <a:r>
              <a:rPr lang="sv-SE" i="1" baseline="0" dirty="0" smtClean="0"/>
              <a:t>Viktigt att veta vid diabetes,</a:t>
            </a:r>
            <a:r>
              <a:rPr lang="sv-SE" i="0" baseline="0" dirty="0" smtClean="0"/>
              <a:t> sidan 35.</a:t>
            </a:r>
            <a:endParaRPr lang="sv-SE" i="1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 smtClean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3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20797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Presentation</a:t>
            </a:r>
            <a:r>
              <a:rPr lang="sv-SE" baseline="0" dirty="0" smtClean="0"/>
              <a:t> av grupputbildningsmaterialet. Materialet är särskilt framtaget för grupputbildning av patienter med typ 2-diabetes. Handledningen vänder sig till dig som handleder patienten. Faktaguiden och Mina sidor vänder sig till patienten. Läs mer på sidan 6 i Faktaguiden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230092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Presentation</a:t>
            </a:r>
            <a:r>
              <a:rPr lang="sv-SE" baseline="0" dirty="0" smtClean="0"/>
              <a:t> av Faktaguiden: Guiden är särskilt framtagen för grupputbildning om typ 2-diabetes, den kan även läsas på egen hand. Det fungerar bra att läsa kapitlen i den ordning man vill. I slutet av faktaguiden finns en ordlista (sidor 42-44)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06434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I ”Mina sidor” finns</a:t>
            </a:r>
            <a:r>
              <a:rPr lang="sv-SE" baseline="0" dirty="0" smtClean="0"/>
              <a:t> bland annat plats att föra matdagbok och blodsockerdagbok och skriva aktivitetskalender och sätta upp mål.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46624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Bilden beskriver</a:t>
            </a:r>
            <a:r>
              <a:rPr lang="sv-SE" baseline="0" dirty="0" smtClean="0"/>
              <a:t> sockrets väg från magsäcken, via blodet till lever, hjärna och muskelcellen. Bilden visar också bukspottskörtel och insulinets roll för inlagring av glukos i muskelcellen. Läs mer i kapitel 2 </a:t>
            </a:r>
            <a:r>
              <a:rPr lang="sv-SE" i="1" baseline="0" dirty="0" smtClean="0"/>
              <a:t>Typ 2-diabetes - vad händer i kroppen </a:t>
            </a:r>
            <a:r>
              <a:rPr lang="sv-SE" baseline="0" dirty="0" smtClean="0"/>
              <a:t>på sidan 11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203532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Bilden visar insulinet betydelse för inlagring av glukos. </a:t>
            </a:r>
            <a:r>
              <a:rPr lang="sv-SE" baseline="0" dirty="0" smtClean="0"/>
              <a:t>Läs mer i kapitel 2</a:t>
            </a:r>
            <a:r>
              <a:rPr lang="sv-SE" i="1" baseline="0" dirty="0" smtClean="0"/>
              <a:t>Typ 2-diabetes – vad händer i kroppen </a:t>
            </a:r>
            <a:r>
              <a:rPr lang="sv-SE" baseline="0" dirty="0" smtClean="0"/>
              <a:t>, sidorna 10 och 11.</a:t>
            </a:r>
            <a:endParaRPr lang="sv-SE" dirty="0" smtClean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134837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/>
              <a:t>Bilden visar utvecklingen av typ</a:t>
            </a:r>
            <a:r>
              <a:rPr lang="sv-SE" baseline="0" dirty="0" smtClean="0"/>
              <a:t> 2-diabetes, läs mer i kapitel 2 </a:t>
            </a:r>
            <a:r>
              <a:rPr lang="sv-SE" i="1" baseline="0" dirty="0" smtClean="0"/>
              <a:t>Typ 2-diabetes – vad händer i kroppen</a:t>
            </a:r>
            <a:r>
              <a:rPr lang="sv-SE" baseline="0" dirty="0" smtClean="0"/>
              <a:t>, sidorna 10 och 11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6278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Diagrammet</a:t>
            </a:r>
            <a:r>
              <a:rPr lang="sv-SE" baseline="0" dirty="0" smtClean="0"/>
              <a:t> visar kopplingen mellan medelblodsocker och HbA1c. Den röda färgen i diagrammet indikerar HbA1c-värden som är skadliga för patienten som innebär förhöjd risk att utveckla komplikationer till sjukdomen. </a:t>
            </a:r>
          </a:p>
          <a:p>
            <a:endParaRPr lang="sv-SE" baseline="0" dirty="0" smtClean="0"/>
          </a:p>
          <a:p>
            <a:r>
              <a:rPr lang="sv-SE" baseline="0" dirty="0" smtClean="0"/>
              <a:t>Diagrammet ingår även som ett lösblad (</a:t>
            </a:r>
            <a:r>
              <a:rPr lang="sv-SE" i="1" baseline="0" dirty="0" smtClean="0"/>
              <a:t>Sambandet mellan medelblodsocker och HbA1c</a:t>
            </a:r>
            <a:r>
              <a:rPr lang="sv-SE" baseline="0" dirty="0" smtClean="0"/>
              <a:t>) i det patientmaterial som är knutet till ”</a:t>
            </a:r>
            <a:r>
              <a:rPr lang="sv-SE" b="1" baseline="0" dirty="0" smtClean="0"/>
              <a:t>Behandlingsstrategi – typ 2 diabetes</a:t>
            </a:r>
            <a:r>
              <a:rPr lang="sv-SE" baseline="0" dirty="0" smtClean="0"/>
              <a:t>”. Lösbladet finns att ladda ner på SKL:s webbplats.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C8CFC-4766-48BE-BF46-052D72D045CE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05603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1201976"/>
            <a:ext cx="7772400" cy="1470025"/>
          </a:xfrm>
        </p:spPr>
        <p:txBody>
          <a:bodyPr>
            <a:normAutofit/>
          </a:bodyPr>
          <a:lstStyle>
            <a:lvl1pPr algn="ctr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063218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5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604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279321-21E5-4065-9F99-C026C4251C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242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34865"/>
            <a:ext cx="8794113" cy="31099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279321-21E5-4065-9F99-C026C4251C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121489" y="1035958"/>
            <a:ext cx="8818222" cy="1247204"/>
          </a:xfrm>
        </p:spPr>
        <p:txBody>
          <a:bodyPr/>
          <a:lstStyle>
            <a:lvl2pPr marL="183654" indent="-183654">
              <a:defRPr/>
            </a:lvl2pPr>
            <a:lvl3pPr marL="404039" indent="-183654">
              <a:defRPr/>
            </a:lvl3pPr>
            <a:lvl4pPr marL="587693" indent="-183654">
              <a:buFont typeface="Arial" pitchFamily="34" charset="0"/>
              <a:buChar char="•"/>
              <a:defRPr/>
            </a:lvl4pPr>
            <a:lvl5pPr marL="771347" indent="-183654"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dirty="0"/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121220" y="5921073"/>
            <a:ext cx="8860094" cy="510564"/>
          </a:xfrm>
        </p:spPr>
        <p:txBody>
          <a:bodyPr anchor="b" anchorCtr="0"/>
          <a:lstStyle>
            <a:lvl1pPr marL="628097" indent="-628097">
              <a:tabLst>
                <a:tab pos="459135" algn="r"/>
                <a:tab pos="646462" algn="l"/>
              </a:tabLst>
              <a:defRPr sz="80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70052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färgad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768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500" b="0">
                <a:solidFill>
                  <a:srgbClr val="00000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62571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färga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071550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071549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574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500" b="0">
                <a:solidFill>
                  <a:srgbClr val="00000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071550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071549"/>
          </a:xfrm>
        </p:spPr>
        <p:txBody>
          <a:bodyPr>
            <a:normAutofit/>
          </a:bodyPr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714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500" b="0">
                <a:solidFill>
                  <a:srgbClr val="00000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tshållare för diagram 8"/>
          <p:cNvSpPr>
            <a:spLocks noGrp="1"/>
          </p:cNvSpPr>
          <p:nvPr>
            <p:ph type="chart" sz="quarter" idx="13"/>
          </p:nvPr>
        </p:nvSpPr>
        <p:spPr>
          <a:xfrm>
            <a:off x="468313" y="1611314"/>
            <a:ext cx="8223403" cy="4060438"/>
          </a:xfrm>
        </p:spPr>
        <p:txBody>
          <a:bodyPr/>
          <a:lstStyle/>
          <a:p>
            <a:r>
              <a:rPr lang="sv-SE" smtClean="0"/>
              <a:t>Klicka på ikonen för att lägga till ett diagram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1669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färga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279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500" b="0">
                <a:solidFill>
                  <a:srgbClr val="000000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651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7462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0608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143644"/>
            <a:ext cx="14001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BE7876-5999-4803-9494-E373D9411281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15-11-04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357422" y="6143644"/>
            <a:ext cx="21431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5000628" y="6143644"/>
            <a:ext cx="13573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4A5D00-1160-406B-8205-4F55E63EE66F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609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spcBef>
          <a:spcPct val="0"/>
        </a:spcBef>
        <a:buNone/>
        <a:defRPr sz="31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20000"/>
        </a:lnSpc>
        <a:spcBef>
          <a:spcPct val="20000"/>
        </a:spcBef>
        <a:buFont typeface="Wingdings" pitchFamily="2" charset="2"/>
        <a:buChar char="§"/>
        <a:defRPr sz="2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20000"/>
        </a:lnSpc>
        <a:spcBef>
          <a:spcPct val="20000"/>
        </a:spcBef>
        <a:buFont typeface="Verdana" pitchFamily="34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ct val="20000"/>
        </a:spcBef>
        <a:buFont typeface="Verdana" pitchFamily="34" charset="0"/>
        <a:buChar char="-"/>
        <a:defRPr sz="18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ct val="20000"/>
        </a:spcBef>
        <a:buFont typeface="Verdana" pitchFamily="34" charset="0"/>
        <a:buChar char="-"/>
        <a:defRPr sz="16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ct val="20000"/>
        </a:spcBef>
        <a:buFont typeface="Verdana" pitchFamily="34" charset="0"/>
        <a:buChar char="-"/>
        <a:defRPr sz="16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>
                <a:solidFill>
                  <a:srgbClr val="1BA567"/>
                </a:solidFill>
              </a:rPr>
              <a:t>Grupputbildning </a:t>
            </a:r>
            <a:endParaRPr lang="sv-SE" dirty="0">
              <a:solidFill>
                <a:srgbClr val="1BA567"/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För dig som har typ 2-diabete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3861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Åderförfettning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6319292" y="1988840"/>
            <a:ext cx="16370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 smtClean="0"/>
              <a:t>Friskt blodkärl</a:t>
            </a:r>
            <a:endParaRPr lang="sv-SE" sz="1400" dirty="0"/>
          </a:p>
        </p:txBody>
      </p:sp>
      <p:sp>
        <p:nvSpPr>
          <p:cNvPr id="6" name="textruta 5"/>
          <p:cNvSpPr txBox="1"/>
          <p:nvPr/>
        </p:nvSpPr>
        <p:spPr>
          <a:xfrm>
            <a:off x="6319292" y="3933056"/>
            <a:ext cx="16370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 err="1" smtClean="0"/>
              <a:t>Åderförfettat</a:t>
            </a:r>
            <a:r>
              <a:rPr lang="sv-SE" sz="1400" dirty="0" smtClean="0"/>
              <a:t> blodkärl</a:t>
            </a:r>
            <a:endParaRPr lang="sv-SE" sz="1400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663" y="1772816"/>
            <a:ext cx="3578629" cy="3426922"/>
          </a:xfrm>
          <a:prstGeom prst="rect">
            <a:avLst/>
          </a:prstGeom>
        </p:spPr>
      </p:pic>
      <p:sp>
        <p:nvSpPr>
          <p:cNvPr id="8" name="textruta 7"/>
          <p:cNvSpPr txBox="1"/>
          <p:nvPr/>
        </p:nvSpPr>
        <p:spPr>
          <a:xfrm>
            <a:off x="179512" y="6093296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Typ 2-diabetes – vad händer i kroppen?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28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ruta 11"/>
          <p:cNvSpPr txBox="1"/>
          <p:nvPr/>
        </p:nvSpPr>
        <p:spPr>
          <a:xfrm>
            <a:off x="4355976" y="3054363"/>
            <a:ext cx="2088232" cy="1454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40000"/>
              </a:lnSpc>
            </a:pPr>
            <a:r>
              <a:rPr lang="sv-SE" sz="1600" dirty="0">
                <a:latin typeface="Arial"/>
                <a:cs typeface="Arial"/>
              </a:rPr>
              <a:t>Bättre blodtryck</a:t>
            </a:r>
          </a:p>
          <a:p>
            <a:pPr>
              <a:lnSpc>
                <a:spcPct val="140000"/>
              </a:lnSpc>
            </a:pPr>
            <a:r>
              <a:rPr lang="sv-SE" sz="1600" dirty="0">
                <a:latin typeface="Arial"/>
                <a:cs typeface="Arial"/>
              </a:rPr>
              <a:t>Bättre blodsocker</a:t>
            </a:r>
          </a:p>
          <a:p>
            <a:pPr>
              <a:lnSpc>
                <a:spcPct val="140000"/>
              </a:lnSpc>
            </a:pPr>
            <a:r>
              <a:rPr lang="sv-SE" sz="1600" dirty="0">
                <a:latin typeface="Arial"/>
                <a:cs typeface="Arial"/>
              </a:rPr>
              <a:t>Bättre blodfetter</a:t>
            </a:r>
          </a:p>
          <a:p>
            <a:pPr>
              <a:lnSpc>
                <a:spcPct val="140000"/>
              </a:lnSpc>
            </a:pPr>
            <a:r>
              <a:rPr lang="sv-SE" sz="1600" dirty="0">
                <a:latin typeface="Arial"/>
                <a:cs typeface="Arial"/>
              </a:rPr>
              <a:t>Större välbefinnande</a:t>
            </a:r>
          </a:p>
        </p:txBody>
      </p:sp>
      <p:sp>
        <p:nvSpPr>
          <p:cNvPr id="13" name="textruta 12"/>
          <p:cNvSpPr txBox="1"/>
          <p:nvPr/>
        </p:nvSpPr>
        <p:spPr>
          <a:xfrm>
            <a:off x="7020272" y="3689156"/>
            <a:ext cx="201622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>
                <a:latin typeface="Arial"/>
                <a:cs typeface="Arial"/>
              </a:rPr>
              <a:t>Markant lägre </a:t>
            </a:r>
            <a:br>
              <a:rPr lang="sv-SE" sz="1600" dirty="0">
                <a:latin typeface="Arial"/>
                <a:cs typeface="Arial"/>
              </a:rPr>
            </a:br>
            <a:r>
              <a:rPr lang="sv-SE" sz="1600" dirty="0">
                <a:latin typeface="Arial"/>
                <a:cs typeface="Arial"/>
              </a:rPr>
              <a:t>risk för hjärtinfarkt </a:t>
            </a:r>
            <a:br>
              <a:rPr lang="sv-SE" sz="1600" dirty="0">
                <a:latin typeface="Arial"/>
                <a:cs typeface="Arial"/>
              </a:rPr>
            </a:br>
            <a:r>
              <a:rPr lang="sv-SE" sz="1600" dirty="0">
                <a:latin typeface="Arial"/>
                <a:cs typeface="Arial"/>
              </a:rPr>
              <a:t>och stroke</a:t>
            </a:r>
          </a:p>
          <a:p>
            <a:endParaRPr lang="sv-SE" dirty="0"/>
          </a:p>
        </p:txBody>
      </p:sp>
      <p:sp>
        <p:nvSpPr>
          <p:cNvPr id="17" name="Höger 16"/>
          <p:cNvSpPr/>
          <p:nvPr/>
        </p:nvSpPr>
        <p:spPr>
          <a:xfrm>
            <a:off x="1547664" y="3113092"/>
            <a:ext cx="2736304" cy="2880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ln>
                <a:solidFill>
                  <a:srgbClr val="7E0000"/>
                </a:solidFill>
              </a:ln>
            </a:endParaRPr>
          </a:p>
        </p:txBody>
      </p:sp>
      <p:sp>
        <p:nvSpPr>
          <p:cNvPr id="18" name="Höger 17"/>
          <p:cNvSpPr/>
          <p:nvPr/>
        </p:nvSpPr>
        <p:spPr>
          <a:xfrm>
            <a:off x="1547664" y="3977188"/>
            <a:ext cx="2736304" cy="2880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ln>
                <a:solidFill>
                  <a:srgbClr val="7E0000"/>
                </a:solidFill>
              </a:ln>
            </a:endParaRPr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1760" y="3401124"/>
            <a:ext cx="1816100" cy="1358900"/>
          </a:xfrm>
          <a:prstGeom prst="rect">
            <a:avLst/>
          </a:prstGeom>
        </p:spPr>
      </p:pic>
      <p:pic>
        <p:nvPicPr>
          <p:cNvPr id="5" name="Bildobjekt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7704" y="3329116"/>
            <a:ext cx="1765300" cy="1168400"/>
          </a:xfrm>
          <a:prstGeom prst="rect">
            <a:avLst/>
          </a:prstGeom>
        </p:spPr>
      </p:pic>
      <p:sp>
        <p:nvSpPr>
          <p:cNvPr id="19" name="Höger 18"/>
          <p:cNvSpPr/>
          <p:nvPr/>
        </p:nvSpPr>
        <p:spPr>
          <a:xfrm>
            <a:off x="6444208" y="3977188"/>
            <a:ext cx="432048" cy="2880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ln>
                <a:solidFill>
                  <a:srgbClr val="7E0000"/>
                </a:solidFill>
              </a:ln>
            </a:endParaRPr>
          </a:p>
        </p:txBody>
      </p:sp>
      <p:sp>
        <p:nvSpPr>
          <p:cNvPr id="15" name="textruta 14"/>
          <p:cNvSpPr txBox="1"/>
          <p:nvPr/>
        </p:nvSpPr>
        <p:spPr>
          <a:xfrm>
            <a:off x="-216024" y="393338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3200" dirty="0" smtClean="0">
                <a:solidFill>
                  <a:srgbClr val="1BA567"/>
                </a:solidFill>
              </a:rPr>
              <a:t>Behandling som minskar risken för åderförfettning</a:t>
            </a:r>
            <a:endParaRPr lang="sv-SE" sz="3200" dirty="0">
              <a:solidFill>
                <a:srgbClr val="1BA567"/>
              </a:solidFill>
            </a:endParaRPr>
          </a:p>
        </p:txBody>
      </p:sp>
      <p:sp>
        <p:nvSpPr>
          <p:cNvPr id="2" name="textruta 1"/>
          <p:cNvSpPr txBox="1"/>
          <p:nvPr/>
        </p:nvSpPr>
        <p:spPr>
          <a:xfrm>
            <a:off x="251520" y="306896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Bra mat</a:t>
            </a:r>
            <a:endParaRPr lang="sv-SE" dirty="0"/>
          </a:p>
        </p:txBody>
      </p:sp>
      <p:sp>
        <p:nvSpPr>
          <p:cNvPr id="20" name="textruta 19"/>
          <p:cNvSpPr txBox="1"/>
          <p:nvPr/>
        </p:nvSpPr>
        <p:spPr>
          <a:xfrm>
            <a:off x="251520" y="3895888"/>
            <a:ext cx="1152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Fysisk aktivitet</a:t>
            </a:r>
            <a:endParaRPr lang="sv-SE" dirty="0"/>
          </a:p>
        </p:txBody>
      </p:sp>
      <p:sp>
        <p:nvSpPr>
          <p:cNvPr id="21" name="textruta 20"/>
          <p:cNvSpPr txBox="1"/>
          <p:nvPr/>
        </p:nvSpPr>
        <p:spPr>
          <a:xfrm rot="21224879">
            <a:off x="427520" y="1893625"/>
            <a:ext cx="2770106" cy="738664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sv-SE" sz="1400" dirty="0" smtClean="0">
                <a:solidFill>
                  <a:srgbClr val="C00000"/>
                </a:solidFill>
              </a:rPr>
              <a:t>Inga läkemedel är på egen hand lika effektiva som bra mat och fysisk aktivitet</a:t>
            </a:r>
            <a:endParaRPr lang="sv-SE" sz="1400" dirty="0">
              <a:solidFill>
                <a:srgbClr val="C00000"/>
              </a:solidFill>
            </a:endParaRPr>
          </a:p>
        </p:txBody>
      </p:sp>
      <p:sp>
        <p:nvSpPr>
          <p:cNvPr id="16" name="textruta 15"/>
          <p:cNvSpPr txBox="1"/>
          <p:nvPr/>
        </p:nvSpPr>
        <p:spPr>
          <a:xfrm>
            <a:off x="107504" y="6165304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Typ 2-diabetes – vad händer i kroppen?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028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Fysisk aktivitet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endParaRPr lang="sv-SE" dirty="0" smtClean="0">
              <a:solidFill>
                <a:schemeClr val="accent1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Mest effektiva sättet att minska risken för skador och åderförfettning till följd av diabetes</a:t>
            </a:r>
          </a:p>
          <a:p>
            <a:pPr>
              <a:spcAft>
                <a:spcPts val="1200"/>
              </a:spcAft>
            </a:pPr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Knappt en timmes aktivitet håller celldörrarna i 24–48 timmar.</a:t>
            </a:r>
            <a:endParaRPr lang="sv-SE" sz="28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Ger alltid effekt</a:t>
            </a:r>
            <a:endParaRPr lang="sv-SE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Fysisk aktivitet och diabetes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109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ruta 5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Fysisk aktivitet och diabetes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569082"/>
            <a:ext cx="5752490" cy="3876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Hitta din nivå</a:t>
            </a:r>
            <a:endParaRPr lang="sv-SE" b="0" dirty="0">
              <a:solidFill>
                <a:srgbClr val="1BA5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728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95536" y="11815"/>
            <a:ext cx="8229600" cy="1143000"/>
          </a:xfrm>
        </p:spPr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Livsmedel som skyddar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4294967295"/>
          </p:nvPr>
        </p:nvSpPr>
        <p:spPr>
          <a:xfrm>
            <a:off x="698915" y="3429000"/>
            <a:ext cx="4038600" cy="4525963"/>
          </a:xfrm>
        </p:spPr>
        <p:txBody>
          <a:bodyPr>
            <a:normAutofit/>
          </a:bodyPr>
          <a:lstStyle/>
          <a:p>
            <a:r>
              <a:rPr lang="sv-SE" dirty="0">
                <a:solidFill>
                  <a:schemeClr val="accent1">
                    <a:lumMod val="75000"/>
                  </a:schemeClr>
                </a:solidFill>
              </a:rPr>
              <a:t>Fisk</a:t>
            </a:r>
          </a:p>
          <a:p>
            <a:r>
              <a:rPr lang="sv-SE" dirty="0">
                <a:solidFill>
                  <a:schemeClr val="accent1">
                    <a:lumMod val="75000"/>
                  </a:schemeClr>
                </a:solidFill>
              </a:rPr>
              <a:t>Nötter och jordnötter</a:t>
            </a:r>
          </a:p>
          <a:p>
            <a:r>
              <a:rPr lang="sv-SE" dirty="0">
                <a:solidFill>
                  <a:schemeClr val="accent1">
                    <a:lumMod val="75000"/>
                  </a:schemeClr>
                </a:solidFill>
              </a:rPr>
              <a:t>Alkohol</a:t>
            </a:r>
          </a:p>
          <a:p>
            <a:r>
              <a:rPr lang="sv-SE" dirty="0">
                <a:solidFill>
                  <a:schemeClr val="accent1">
                    <a:lumMod val="75000"/>
                  </a:schemeClr>
                </a:solidFill>
              </a:rPr>
              <a:t>Kaffe</a:t>
            </a:r>
          </a:p>
          <a:p>
            <a:endParaRPr lang="sv-S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Platshållare för innehåll 3"/>
          <p:cNvSpPr>
            <a:spLocks noGrp="1"/>
          </p:cNvSpPr>
          <p:nvPr>
            <p:ph sz="half" idx="4294967295"/>
          </p:nvPr>
        </p:nvSpPr>
        <p:spPr>
          <a:xfrm>
            <a:off x="4733325" y="3429000"/>
            <a:ext cx="4038600" cy="4525963"/>
          </a:xfrm>
        </p:spPr>
        <p:txBody>
          <a:bodyPr>
            <a:normAutofit/>
          </a:bodyPr>
          <a:lstStyle/>
          <a:p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Fullkorn</a:t>
            </a:r>
            <a:endParaRPr lang="sv-SE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Grönsaker, rotfrukter</a:t>
            </a:r>
            <a:endParaRPr lang="sv-SE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Frukt</a:t>
            </a:r>
            <a:endParaRPr lang="sv-SE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sv-S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textruta 8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26" name="Picture 2" descr="C:\Users\Annelie\Desktop\SKL\Diabetesutbildningen bilspel\Remsa-mat-li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7208" y="1080000"/>
            <a:ext cx="9239783" cy="1820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8673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sv-SE" sz="2800" b="0" dirty="0" smtClean="0">
                <a:solidFill>
                  <a:srgbClr val="1BA567"/>
                </a:solidFill>
              </a:rPr>
              <a:t>Forskningssammanställning från SBU visar:</a:t>
            </a:r>
            <a:endParaRPr lang="sv-SE" sz="2800" b="0" dirty="0">
              <a:solidFill>
                <a:srgbClr val="1BA567"/>
              </a:solidFill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Flera koster är bra vid diabetes</a:t>
            </a:r>
          </a:p>
          <a:p>
            <a:pPr>
              <a:lnSpc>
                <a:spcPct val="130000"/>
              </a:lnSpc>
              <a:spcBef>
                <a:spcPts val="1200"/>
              </a:spcBef>
            </a:pPr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Gemensamma nämnare finns</a:t>
            </a:r>
          </a:p>
          <a:p>
            <a:pPr lvl="1"/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Frukt och grönt</a:t>
            </a:r>
          </a:p>
          <a:p>
            <a:pPr lvl="1"/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Nyttiga fetter </a:t>
            </a:r>
          </a:p>
          <a:p>
            <a:pPr lvl="1"/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Långsamma kolhydrater</a:t>
            </a:r>
            <a:endParaRPr lang="sv-SE" sz="28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Totala mängden energi är viktigare än fördelning mellan kolhydrater och fett.</a:t>
            </a:r>
            <a:endParaRPr lang="sv-SE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948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Huvudsakliga energikällor i de undersökta kosterna</a:t>
            </a:r>
            <a:endParaRPr lang="sv-SE" b="0" dirty="0">
              <a:solidFill>
                <a:srgbClr val="1BA567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615491"/>
            <a:ext cx="6740957" cy="3613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ruta 5"/>
          <p:cNvSpPr txBox="1"/>
          <p:nvPr/>
        </p:nvSpPr>
        <p:spPr>
          <a:xfrm>
            <a:off x="179512" y="5435351"/>
            <a:ext cx="7056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i="1" dirty="0" smtClean="0"/>
              <a:t>Kost vid diabetes – en vägledning för hälso- och sjukvården </a:t>
            </a:r>
            <a:r>
              <a:rPr lang="sv-SE" sz="1200" dirty="0" smtClean="0"/>
              <a:t>(Socialstyrelsen 2011)</a:t>
            </a:r>
            <a:endParaRPr lang="sv-SE" sz="1200" dirty="0"/>
          </a:p>
        </p:txBody>
      </p:sp>
      <p:sp>
        <p:nvSpPr>
          <p:cNvPr id="5" name="textruta 4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894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/>
              <a:t>Vilka koster är bra vid diabetes?</a:t>
            </a:r>
            <a:endParaRPr lang="sv-SE" b="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 smtClean="0"/>
          </a:p>
          <a:p>
            <a:endParaRPr lang="sv-SE" dirty="0"/>
          </a:p>
          <a:p>
            <a:r>
              <a:rPr lang="sv-SE" sz="2400" dirty="0" err="1" smtClean="0"/>
              <a:t>Medelhavskost</a:t>
            </a:r>
            <a:endParaRPr lang="sv-SE" sz="2400" dirty="0" smtClean="0"/>
          </a:p>
          <a:p>
            <a:r>
              <a:rPr lang="sv-SE" sz="2400" dirty="0" smtClean="0"/>
              <a:t>Måttlig lågkolhydratkost</a:t>
            </a:r>
          </a:p>
          <a:p>
            <a:r>
              <a:rPr lang="sv-SE" sz="2400" dirty="0" smtClean="0"/>
              <a:t>Traditionell diabeteskost</a:t>
            </a:r>
          </a:p>
          <a:p>
            <a:r>
              <a:rPr lang="sv-SE" sz="2400" dirty="0" smtClean="0"/>
              <a:t>Traditionell diabeteskost med lågt GI</a:t>
            </a:r>
          </a:p>
          <a:p>
            <a:endParaRPr lang="sv-SE" dirty="0"/>
          </a:p>
        </p:txBody>
      </p:sp>
      <p:sp>
        <p:nvSpPr>
          <p:cNvPr id="4" name="textruta 3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179512" y="5435351"/>
            <a:ext cx="7056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i="1" dirty="0" smtClean="0"/>
              <a:t>Kost vid diabetes – en vägledning för hälso- och sjukvården </a:t>
            </a:r>
            <a:r>
              <a:rPr lang="sv-SE" sz="1200" dirty="0" smtClean="0"/>
              <a:t>(Socialstyrelsen 2011)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2554104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Annelie\Desktop\SKL\Diabetesutbildningen bilspel\Medelhavskost-li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000" y="-252000"/>
            <a:ext cx="9252128" cy="6147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95536" y="289741"/>
            <a:ext cx="8229600" cy="1143000"/>
          </a:xfrm>
        </p:spPr>
        <p:txBody>
          <a:bodyPr anchor="ctr"/>
          <a:lstStyle/>
          <a:p>
            <a:pPr algn="ctr"/>
            <a:r>
              <a:rPr lang="sv-SE" b="0" smtClean="0">
                <a:solidFill>
                  <a:schemeClr val="bg1"/>
                </a:solidFill>
              </a:rPr>
              <a:t>Medelhavskost</a:t>
            </a:r>
            <a:endParaRPr lang="sv-SE" b="0" dirty="0">
              <a:solidFill>
                <a:schemeClr val="bg1"/>
              </a:solidFill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35496" y="5528265"/>
            <a:ext cx="7056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Från </a:t>
            </a:r>
            <a:r>
              <a:rPr lang="sv-SE" sz="1200" i="1" dirty="0" smtClean="0"/>
              <a:t>Kost vid diabetes – en vägledning för hälso- och sjukvården </a:t>
            </a:r>
            <a:r>
              <a:rPr lang="sv-SE" sz="1200" dirty="0" smtClean="0"/>
              <a:t>(Socialstyrelsen 2011)</a:t>
            </a:r>
            <a:endParaRPr lang="sv-SE" sz="1200" dirty="0"/>
          </a:p>
        </p:txBody>
      </p:sp>
      <p:sp>
        <p:nvSpPr>
          <p:cNvPr id="6" name="textruta 5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86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Annelie\Desktop\SKL\Diabetesutbildningen bilspel\Måttlig-lågkolhydratkost-li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-252000"/>
            <a:ext cx="9258300" cy="6147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FFFFFF"/>
                </a:solidFill>
              </a:rPr>
              <a:t>Måttlig lågkolhydratkost</a:t>
            </a:r>
            <a:endParaRPr lang="sv-SE" b="0" dirty="0">
              <a:solidFill>
                <a:srgbClr val="FFFFFF"/>
              </a:solidFill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107504" y="5600273"/>
            <a:ext cx="7056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Från </a:t>
            </a:r>
            <a:r>
              <a:rPr lang="sv-SE" sz="1200" i="1" dirty="0" smtClean="0"/>
              <a:t>Kost vid diabetes – en vägledning för hälso- och sjukvården </a:t>
            </a:r>
            <a:r>
              <a:rPr lang="sv-SE" sz="1200" dirty="0" smtClean="0"/>
              <a:t>(Socialstyrelsen 2011)</a:t>
            </a:r>
            <a:endParaRPr lang="sv-SE" sz="1200" dirty="0"/>
          </a:p>
        </p:txBody>
      </p:sp>
      <p:sp>
        <p:nvSpPr>
          <p:cNvPr id="7" name="textruta 6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86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 2"/>
          <p:cNvSpPr/>
          <p:nvPr/>
        </p:nvSpPr>
        <p:spPr>
          <a:xfrm>
            <a:off x="1259632" y="1196752"/>
            <a:ext cx="2736304" cy="1800200"/>
          </a:xfrm>
          <a:prstGeom prst="wedgeEllipseCallou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Ellips 5"/>
          <p:cNvSpPr/>
          <p:nvPr/>
        </p:nvSpPr>
        <p:spPr>
          <a:xfrm>
            <a:off x="2483768" y="3813430"/>
            <a:ext cx="2736304" cy="1800200"/>
          </a:xfrm>
          <a:prstGeom prst="wedgeEllipseCallou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Ellips 6"/>
          <p:cNvSpPr/>
          <p:nvPr/>
        </p:nvSpPr>
        <p:spPr>
          <a:xfrm>
            <a:off x="6156176" y="908720"/>
            <a:ext cx="2736304" cy="1800200"/>
          </a:xfrm>
          <a:prstGeom prst="wedgeEllipseCallou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Ellips 7"/>
          <p:cNvSpPr/>
          <p:nvPr/>
        </p:nvSpPr>
        <p:spPr>
          <a:xfrm>
            <a:off x="5868144" y="3645024"/>
            <a:ext cx="2736304" cy="1800200"/>
          </a:xfrm>
          <a:prstGeom prst="wedgeEllipseCallou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Ellips 8"/>
          <p:cNvSpPr/>
          <p:nvPr/>
        </p:nvSpPr>
        <p:spPr>
          <a:xfrm>
            <a:off x="251520" y="2996952"/>
            <a:ext cx="2736304" cy="1800200"/>
          </a:xfrm>
          <a:prstGeom prst="wedgeEllipseCallou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Ellips 9"/>
          <p:cNvSpPr/>
          <p:nvPr/>
        </p:nvSpPr>
        <p:spPr>
          <a:xfrm>
            <a:off x="3669482" y="1785593"/>
            <a:ext cx="2736304" cy="1800200"/>
          </a:xfrm>
          <a:prstGeom prst="wedgeEllipseCallout">
            <a:avLst/>
          </a:prstGeom>
          <a:solidFill>
            <a:schemeClr val="bg1"/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textruta 10"/>
          <p:cNvSpPr txBox="1"/>
          <p:nvPr/>
        </p:nvSpPr>
        <p:spPr>
          <a:xfrm>
            <a:off x="1259632" y="1796043"/>
            <a:ext cx="273630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Måste jag hålla </a:t>
            </a:r>
            <a:b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</a:br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en viss diet nu?</a:t>
            </a:r>
          </a:p>
          <a:p>
            <a:endParaRPr lang="sv-SE" dirty="0">
              <a:solidFill>
                <a:srgbClr val="D96B27"/>
              </a:solidFill>
            </a:endParaRPr>
          </a:p>
        </p:txBody>
      </p:sp>
      <p:sp>
        <p:nvSpPr>
          <p:cNvPr id="12" name="textruta 11"/>
          <p:cNvSpPr txBox="1"/>
          <p:nvPr/>
        </p:nvSpPr>
        <p:spPr>
          <a:xfrm>
            <a:off x="3779912" y="2348880"/>
            <a:ext cx="273630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Vilken nytta gör </a:t>
            </a:r>
            <a:b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</a:br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fysisk aktivitet?</a:t>
            </a:r>
          </a:p>
          <a:p>
            <a:endParaRPr lang="sv-SE" dirty="0">
              <a:solidFill>
                <a:srgbClr val="D96B27"/>
              </a:solidFill>
            </a:endParaRPr>
          </a:p>
        </p:txBody>
      </p:sp>
      <p:sp>
        <p:nvSpPr>
          <p:cNvPr id="13" name="textruta 12"/>
          <p:cNvSpPr txBox="1"/>
          <p:nvPr/>
        </p:nvSpPr>
        <p:spPr>
          <a:xfrm>
            <a:off x="5940152" y="1124744"/>
            <a:ext cx="309634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Är det verkligen </a:t>
            </a:r>
            <a:b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</a:br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farligt med </a:t>
            </a:r>
            <a:endParaRPr lang="sv-SE" sz="2000" i="1" dirty="0" smtClean="0">
              <a:solidFill>
                <a:srgbClr val="D96B27"/>
              </a:solidFill>
              <a:latin typeface="Arial"/>
              <a:cs typeface="Arial"/>
            </a:endParaRPr>
          </a:p>
          <a:p>
            <a:pPr algn="ctr"/>
            <a:r>
              <a:rPr lang="sv-SE" sz="2000" i="1" dirty="0" smtClean="0">
                <a:solidFill>
                  <a:srgbClr val="D96B27"/>
                </a:solidFill>
                <a:latin typeface="Arial"/>
                <a:cs typeface="Arial"/>
              </a:rPr>
              <a:t>typ </a:t>
            </a:r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2-diabetes?</a:t>
            </a:r>
            <a:b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</a:br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Jag mår ju </a:t>
            </a:r>
            <a:r>
              <a:rPr lang="sv-SE" sz="2000" i="1" dirty="0" smtClean="0">
                <a:solidFill>
                  <a:srgbClr val="D96B27"/>
                </a:solidFill>
                <a:latin typeface="Arial"/>
                <a:cs typeface="Arial"/>
              </a:rPr>
              <a:t>bra.</a:t>
            </a:r>
            <a:endParaRPr lang="sv-SE" sz="2000" i="1" dirty="0">
              <a:solidFill>
                <a:srgbClr val="D96B27"/>
              </a:solidFill>
              <a:latin typeface="Arial"/>
              <a:cs typeface="Arial"/>
            </a:endParaRPr>
          </a:p>
          <a:p>
            <a:pPr algn="ctr"/>
            <a:endParaRPr lang="sv-SE" dirty="0">
              <a:solidFill>
                <a:srgbClr val="D96B27"/>
              </a:solidFill>
            </a:endParaRPr>
          </a:p>
        </p:txBody>
      </p:sp>
      <p:sp>
        <p:nvSpPr>
          <p:cNvPr id="14" name="textruta 13"/>
          <p:cNvSpPr txBox="1"/>
          <p:nvPr/>
        </p:nvSpPr>
        <p:spPr>
          <a:xfrm>
            <a:off x="251520" y="3524235"/>
            <a:ext cx="273630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Är det farligt </a:t>
            </a:r>
            <a:b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</a:br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att vara överviktig?</a:t>
            </a:r>
          </a:p>
          <a:p>
            <a:endParaRPr lang="sv-SE" dirty="0">
              <a:solidFill>
                <a:srgbClr val="D96B27"/>
              </a:solidFill>
            </a:endParaRPr>
          </a:p>
        </p:txBody>
      </p:sp>
      <p:sp>
        <p:nvSpPr>
          <p:cNvPr id="15" name="textruta 14"/>
          <p:cNvSpPr txBox="1"/>
          <p:nvPr/>
        </p:nvSpPr>
        <p:spPr>
          <a:xfrm>
            <a:off x="2443913" y="4365104"/>
            <a:ext cx="2736304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Vilken behandling </a:t>
            </a:r>
            <a:endParaRPr lang="sv-SE" sz="2000" i="1" dirty="0" smtClean="0">
              <a:solidFill>
                <a:srgbClr val="D96B27"/>
              </a:solidFill>
              <a:latin typeface="Arial"/>
              <a:cs typeface="Arial"/>
            </a:endParaRPr>
          </a:p>
          <a:p>
            <a:pPr algn="ctr"/>
            <a:r>
              <a:rPr lang="sv-SE" sz="2000" i="1" dirty="0" smtClean="0">
                <a:solidFill>
                  <a:srgbClr val="D96B27"/>
                </a:solidFill>
                <a:latin typeface="Arial"/>
                <a:cs typeface="Arial"/>
              </a:rPr>
              <a:t>är </a:t>
            </a:r>
            <a:r>
              <a:rPr lang="sv-SE" sz="2000" i="1" dirty="0">
                <a:solidFill>
                  <a:srgbClr val="D96B27"/>
                </a:solidFill>
                <a:latin typeface="Arial"/>
                <a:cs typeface="Arial"/>
              </a:rPr>
              <a:t>mest effektiv?</a:t>
            </a:r>
          </a:p>
          <a:p>
            <a:endParaRPr lang="sv-SE" dirty="0">
              <a:solidFill>
                <a:srgbClr val="D96B27"/>
              </a:solidFill>
            </a:endParaRPr>
          </a:p>
        </p:txBody>
      </p:sp>
      <p:sp>
        <p:nvSpPr>
          <p:cNvPr id="16" name="textruta 15"/>
          <p:cNvSpPr txBox="1"/>
          <p:nvPr/>
        </p:nvSpPr>
        <p:spPr>
          <a:xfrm>
            <a:off x="5868144" y="4221088"/>
            <a:ext cx="27363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2000" i="1" dirty="0" smtClean="0">
                <a:solidFill>
                  <a:srgbClr val="D96B27"/>
                </a:solidFill>
                <a:latin typeface="Arial"/>
                <a:cs typeface="Arial"/>
              </a:rPr>
              <a:t>Är det bra att dricka rödvin?</a:t>
            </a:r>
            <a:endParaRPr lang="sv-SE" sz="2000" i="1" dirty="0">
              <a:solidFill>
                <a:srgbClr val="D96B27"/>
              </a:solidFill>
              <a:latin typeface="Arial"/>
              <a:cs typeface="Arial"/>
            </a:endParaRPr>
          </a:p>
        </p:txBody>
      </p:sp>
      <p:sp>
        <p:nvSpPr>
          <p:cNvPr id="17" name="textruta 16"/>
          <p:cNvSpPr txBox="1"/>
          <p:nvPr/>
        </p:nvSpPr>
        <p:spPr>
          <a:xfrm>
            <a:off x="179511" y="6372036"/>
            <a:ext cx="5000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Grupputbildning typ 2-diabetes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997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Annelie\Desktop\SKL\Diabetesutbildningen bilspel\Traditionell-diabeteskost-li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80000"/>
            <a:ext cx="9144000" cy="6071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FFFFFF"/>
                </a:solidFill>
              </a:rPr>
              <a:t>Traditionell diabeteskost</a:t>
            </a:r>
            <a:endParaRPr lang="sv-SE" b="0" dirty="0">
              <a:solidFill>
                <a:srgbClr val="FFFFFF"/>
              </a:solidFill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107504" y="5600273"/>
            <a:ext cx="7056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Från </a:t>
            </a:r>
            <a:r>
              <a:rPr lang="sv-SE" sz="1200" i="1" dirty="0" smtClean="0"/>
              <a:t>Kost vid diabetes – en vägledning för hälso- och sjukvården </a:t>
            </a:r>
            <a:r>
              <a:rPr lang="sv-SE" sz="1200" dirty="0" smtClean="0"/>
              <a:t>(Socialstyrelsen 2011)</a:t>
            </a:r>
            <a:endParaRPr lang="sv-SE" sz="1200" dirty="0"/>
          </a:p>
        </p:txBody>
      </p:sp>
      <p:sp>
        <p:nvSpPr>
          <p:cNvPr id="7" name="textruta 6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76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Annelie\Desktop\SKL\Diabetesutbildningen bilspel\Traditionell-diabeteskost-med-lågt-GI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22336"/>
            <a:ext cx="9144000" cy="6075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sv-SE" b="0" dirty="0" smtClean="0">
                <a:solidFill>
                  <a:srgbClr val="FFFFFF"/>
                </a:solidFill>
              </a:rPr>
              <a:t>Traditionell diabeteskost med lågt GI</a:t>
            </a:r>
            <a:endParaRPr lang="sv-SE" b="0" dirty="0">
              <a:solidFill>
                <a:srgbClr val="FFFFFF"/>
              </a:solidFill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107504" y="5661248"/>
            <a:ext cx="7056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Från </a:t>
            </a:r>
            <a:r>
              <a:rPr lang="sv-SE" sz="1200" i="1" dirty="0" smtClean="0"/>
              <a:t>Kost vid diabetes – en vägledning för hälso- och sjukvården </a:t>
            </a:r>
            <a:r>
              <a:rPr lang="sv-SE" sz="1200" dirty="0" smtClean="0"/>
              <a:t>(Socialstyrelsen 2011)</a:t>
            </a:r>
            <a:endParaRPr lang="sv-SE" sz="1200" dirty="0"/>
          </a:p>
        </p:txBody>
      </p:sp>
      <p:sp>
        <p:nvSpPr>
          <p:cNvPr id="7" name="textruta 6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764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Vilka koster rekommenderas inte </a:t>
            </a:r>
            <a:br>
              <a:rPr lang="sv-SE" b="0" dirty="0" smtClean="0">
                <a:solidFill>
                  <a:srgbClr val="1BA567"/>
                </a:solidFill>
              </a:rPr>
            </a:br>
            <a:r>
              <a:rPr lang="sv-SE" b="0" dirty="0" smtClean="0">
                <a:solidFill>
                  <a:srgbClr val="1BA567"/>
                </a:solidFill>
              </a:rPr>
              <a:t>vid diabetes?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 smtClean="0"/>
          </a:p>
          <a:p>
            <a:endParaRPr lang="sv-SE" dirty="0"/>
          </a:p>
          <a:p>
            <a:r>
              <a:rPr lang="sv-SE" sz="2400" dirty="0" smtClean="0"/>
              <a:t>Extrem lågkolhydratkost</a:t>
            </a:r>
          </a:p>
          <a:p>
            <a:pPr lvl="1"/>
            <a:r>
              <a:rPr lang="sv-SE" sz="2300" dirty="0" smtClean="0"/>
              <a:t>Mer än 50 % av energin från maten kommer från fett</a:t>
            </a:r>
          </a:p>
          <a:p>
            <a:pPr lvl="1"/>
            <a:r>
              <a:rPr lang="sv-SE" sz="2300" dirty="0" smtClean="0"/>
              <a:t>10-20 % kommer från kolhydrater </a:t>
            </a:r>
          </a:p>
          <a:p>
            <a:pPr lvl="1"/>
            <a:r>
              <a:rPr lang="sv-SE" sz="2300" dirty="0" smtClean="0"/>
              <a:t>Mindre än 30 % från protein</a:t>
            </a:r>
          </a:p>
        </p:txBody>
      </p:sp>
      <p:sp>
        <p:nvSpPr>
          <p:cNvPr id="5" name="textruta 4"/>
          <p:cNvSpPr txBox="1"/>
          <p:nvPr/>
        </p:nvSpPr>
        <p:spPr>
          <a:xfrm>
            <a:off x="539552" y="5435351"/>
            <a:ext cx="7056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i="1" dirty="0" smtClean="0"/>
              <a:t>Kost vid diabetes – en vägledning för hälso- och sjukvården </a:t>
            </a:r>
            <a:r>
              <a:rPr lang="sv-SE" sz="1200" dirty="0" smtClean="0"/>
              <a:t>(Socialstyrelsen 2011)</a:t>
            </a:r>
            <a:endParaRPr lang="sv-SE" sz="1200" dirty="0"/>
          </a:p>
        </p:txBody>
      </p:sp>
      <p:sp>
        <p:nvSpPr>
          <p:cNvPr id="6" name="textruta 5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26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Annelie\Desktop\SKL\Diabetesutbildningen bilspel\Extrem-lågkolhydratkost-li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000" y="-252000"/>
            <a:ext cx="9258300" cy="6147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sv-SE" b="0" dirty="0" smtClean="0">
                <a:solidFill>
                  <a:srgbClr val="FFFFFF"/>
                </a:solidFill>
              </a:rPr>
              <a:t>Extrem lågkolhydratkost</a:t>
            </a:r>
            <a:endParaRPr lang="sv-SE" b="0" dirty="0">
              <a:solidFill>
                <a:srgbClr val="FFFFFF"/>
              </a:solidFill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107504" y="5517232"/>
            <a:ext cx="70567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 smtClean="0"/>
              <a:t>Från </a:t>
            </a:r>
            <a:r>
              <a:rPr lang="sv-SE" sz="1200" i="1" dirty="0" smtClean="0"/>
              <a:t>Kost vid diabetes – en vägledning för hälso- och sjukvården </a:t>
            </a:r>
            <a:r>
              <a:rPr lang="sv-SE" sz="1200" dirty="0" smtClean="0"/>
              <a:t>(Socialstyrelsen 2011)</a:t>
            </a:r>
            <a:endParaRPr lang="sv-SE" sz="1200" dirty="0"/>
          </a:p>
        </p:txBody>
      </p:sp>
      <p:sp>
        <p:nvSpPr>
          <p:cNvPr id="8" name="textruta 7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484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Smarta val vid diabetes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6" name="Platshållare för innehåll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Långsamma kolhydrater</a:t>
            </a:r>
          </a:p>
          <a:p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Fibrer</a:t>
            </a:r>
          </a:p>
          <a:p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Nyttiga fetter</a:t>
            </a:r>
          </a:p>
          <a:p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Dryck med mindre än 0,5 g kolhydrater per deciliter</a:t>
            </a:r>
            <a:endParaRPr lang="sv-SE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ruta 6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Mat och mat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41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frågetecken.ai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33" b="42222"/>
          <a:stretch/>
        </p:blipFill>
        <p:spPr>
          <a:xfrm>
            <a:off x="323528" y="548680"/>
            <a:ext cx="9469492" cy="528576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Övervikt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2400"/>
              </a:spcAft>
            </a:pPr>
            <a:endParaRPr lang="sv-SE" dirty="0" smtClean="0"/>
          </a:p>
          <a:p>
            <a:pPr>
              <a:spcAft>
                <a:spcPts val="2400"/>
              </a:spcAft>
            </a:pPr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Är det farligt att vara överviktig vid diabetes?</a:t>
            </a:r>
          </a:p>
          <a:p>
            <a:pPr>
              <a:spcAft>
                <a:spcPts val="2400"/>
              </a:spcAft>
            </a:pPr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Vad blir man överviktig av?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Övervikt och diabetes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1080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frågetecken.ai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33" b="42222"/>
          <a:stretch/>
        </p:blipFill>
        <p:spPr>
          <a:xfrm>
            <a:off x="323528" y="548680"/>
            <a:ext cx="9469492" cy="5285763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Övervikt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Aft>
                <a:spcPts val="2400"/>
              </a:spcAft>
            </a:pPr>
            <a:endParaRPr lang="sv-SE" dirty="0" smtClean="0"/>
          </a:p>
          <a:p>
            <a:pPr>
              <a:spcAft>
                <a:spcPts val="2400"/>
              </a:spcAft>
            </a:pPr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Vad händer i kroppen när övervikten minskar?</a:t>
            </a:r>
          </a:p>
          <a:p>
            <a:pPr>
              <a:spcAft>
                <a:spcPts val="2400"/>
              </a:spcAft>
            </a:pPr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Vilket sätt är bäst när man vill gå ner i vikt?</a:t>
            </a:r>
          </a:p>
          <a:p>
            <a:pPr>
              <a:spcAft>
                <a:spcPts val="2400"/>
              </a:spcAft>
            </a:pPr>
            <a:r>
              <a:rPr lang="sv-SE" sz="2800" dirty="0" smtClean="0">
                <a:solidFill>
                  <a:schemeClr val="accent1">
                    <a:lumMod val="75000"/>
                  </a:schemeClr>
                </a:solidFill>
              </a:rPr>
              <a:t>Vad ska man äta om man vill gå ner i vikt?</a:t>
            </a:r>
          </a:p>
        </p:txBody>
      </p:sp>
      <p:sp>
        <p:nvSpPr>
          <p:cNvPr id="6" name="textruta 5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Övervikt och diabetes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672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r>
              <a:rPr lang="sv-SE" dirty="0" smtClean="0"/>
              <a:t>Varför är det viktigt att prioritera sömn?</a:t>
            </a:r>
          </a:p>
          <a:p>
            <a:r>
              <a:rPr lang="sv-SE" dirty="0" smtClean="0"/>
              <a:t>Vad händer o kroppen vid långvarig stress</a:t>
            </a:r>
          </a:p>
          <a:p>
            <a:r>
              <a:rPr lang="sv-SE" dirty="0" smtClean="0"/>
              <a:t>Enkla tips för friska fötter </a:t>
            </a:r>
          </a:p>
          <a:p>
            <a:r>
              <a:rPr lang="sv-SE" dirty="0" smtClean="0"/>
              <a:t>Vad händer i kroppen när man slutar röka?</a:t>
            </a:r>
            <a:endParaRPr lang="sv-SE" dirty="0"/>
          </a:p>
        </p:txBody>
      </p:sp>
      <p:sp>
        <p:nvSpPr>
          <p:cNvPr id="4" name="Rubrik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Andra viktiga vanor vid diabetes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Andra vanor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894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Prover och undersökningar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457200" y="1960464"/>
            <a:ext cx="8229600" cy="4060824"/>
          </a:xfrm>
        </p:spPr>
        <p:txBody>
          <a:bodyPr>
            <a:noAutofit/>
          </a:bodyPr>
          <a:lstStyle/>
          <a:p>
            <a:pPr>
              <a:spcAft>
                <a:spcPts val="600"/>
              </a:spcAft>
            </a:pPr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Blodsocker och HbA1c</a:t>
            </a:r>
          </a:p>
          <a:p>
            <a:pPr>
              <a:spcAft>
                <a:spcPts val="600"/>
              </a:spcAft>
            </a:pPr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Blodfetter</a:t>
            </a:r>
          </a:p>
          <a:p>
            <a:pPr>
              <a:spcAft>
                <a:spcPts val="600"/>
              </a:spcAft>
            </a:pPr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Blodtryck</a:t>
            </a:r>
          </a:p>
          <a:p>
            <a:pPr>
              <a:spcAft>
                <a:spcPts val="600"/>
              </a:spcAft>
            </a:pPr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Vikt, BMI och midjemått</a:t>
            </a:r>
          </a:p>
        </p:txBody>
      </p:sp>
      <p:sp>
        <p:nvSpPr>
          <p:cNvPr id="5" name="Platshållare för innehåll 4"/>
          <p:cNvSpPr>
            <a:spLocks noGrp="1"/>
          </p:cNvSpPr>
          <p:nvPr>
            <p:ph sz="half" idx="4294967295"/>
          </p:nvPr>
        </p:nvSpPr>
        <p:spPr>
          <a:xfrm>
            <a:off x="5172075" y="1960414"/>
            <a:ext cx="3971925" cy="3052762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sv-SE" dirty="0">
                <a:solidFill>
                  <a:schemeClr val="accent1">
                    <a:lumMod val="75000"/>
                  </a:schemeClr>
                </a:solidFill>
              </a:rPr>
              <a:t>Äggviteämnen</a:t>
            </a:r>
          </a:p>
          <a:p>
            <a:pPr>
              <a:spcAft>
                <a:spcPts val="600"/>
              </a:spcAft>
            </a:pPr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Vitamin B12</a:t>
            </a:r>
          </a:p>
          <a:p>
            <a:pPr>
              <a:spcAft>
                <a:spcPts val="600"/>
              </a:spcAft>
            </a:pPr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Ögonbotten</a:t>
            </a:r>
          </a:p>
          <a:p>
            <a:pPr>
              <a:spcAft>
                <a:spcPts val="600"/>
              </a:spcAft>
            </a:pPr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Fotundersökning</a:t>
            </a:r>
            <a:endParaRPr lang="sv-S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Koll på läget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817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Högt blodsocker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467544" y="2492896"/>
            <a:ext cx="8229600" cy="4060824"/>
          </a:xfrm>
        </p:spPr>
        <p:txBody>
          <a:bodyPr/>
          <a:lstStyle/>
          <a:p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Trötthet</a:t>
            </a:r>
          </a:p>
          <a:p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Törst</a:t>
            </a:r>
          </a:p>
          <a:p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Stora urinmängder</a:t>
            </a:r>
          </a:p>
          <a:p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Dimsyn</a:t>
            </a:r>
          </a:p>
          <a:p>
            <a:pPr marL="0" indent="0">
              <a:buNone/>
            </a:pPr>
            <a:endParaRPr lang="sv-SE" sz="16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sv-SE" sz="16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sv-SE" sz="1600" dirty="0" smtClean="0">
                <a:solidFill>
                  <a:schemeClr val="accent1">
                    <a:lumMod val="75000"/>
                  </a:schemeClr>
                </a:solidFill>
              </a:rPr>
              <a:t>Dessa symtom försvinner när blodsockret blir normalt igen</a:t>
            </a:r>
            <a:endParaRPr lang="sv-SE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4294967295"/>
          </p:nvPr>
        </p:nvSpPr>
        <p:spPr>
          <a:xfrm>
            <a:off x="539552" y="1988840"/>
            <a:ext cx="2339752" cy="43204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sz="2000" b="1" dirty="0" smtClean="0">
                <a:solidFill>
                  <a:schemeClr val="accent1">
                    <a:lumMod val="75000"/>
                  </a:schemeClr>
                </a:solidFill>
              </a:rPr>
              <a:t>Tecken:</a:t>
            </a:r>
            <a:endParaRPr lang="sv-SE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4294967295"/>
          </p:nvPr>
        </p:nvSpPr>
        <p:spPr>
          <a:xfrm>
            <a:off x="5111360" y="1997150"/>
            <a:ext cx="4041775" cy="639762"/>
          </a:xfrm>
        </p:spPr>
        <p:txBody>
          <a:bodyPr/>
          <a:lstStyle/>
          <a:p>
            <a:pPr marL="0" indent="0">
              <a:buNone/>
            </a:pPr>
            <a:r>
              <a:rPr lang="sv-SE" b="1" dirty="0" smtClean="0">
                <a:solidFill>
                  <a:schemeClr val="accent1">
                    <a:lumMod val="75000"/>
                  </a:schemeClr>
                </a:solidFill>
              </a:rPr>
              <a:t>Gör så här:</a:t>
            </a:r>
            <a:endParaRPr lang="sv-SE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294967295"/>
          </p:nvPr>
        </p:nvSpPr>
        <p:spPr>
          <a:xfrm>
            <a:off x="5106464" y="2420888"/>
            <a:ext cx="4041775" cy="3951288"/>
          </a:xfrm>
        </p:spPr>
        <p:txBody>
          <a:bodyPr/>
          <a:lstStyle/>
          <a:p>
            <a:r>
              <a:rPr lang="sv-SE" dirty="0" smtClean="0">
                <a:solidFill>
                  <a:schemeClr val="accent1">
                    <a:lumMod val="75000"/>
                  </a:schemeClr>
                </a:solidFill>
              </a:rPr>
              <a:t>Kontakta din läkare eller diabetessjuksköterska. Eventuellt behöver din behandling ändras.</a:t>
            </a:r>
            <a:endParaRPr lang="sv-SE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ruta 6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Viktigt att veta om diabetes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365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Grupputbildningsmaterial</a:t>
            </a:r>
            <a:endParaRPr lang="sv-SE" b="0" dirty="0">
              <a:solidFill>
                <a:srgbClr val="1BA567"/>
              </a:solidFill>
            </a:endParaRPr>
          </a:p>
        </p:txBody>
      </p:sp>
      <p:pic>
        <p:nvPicPr>
          <p:cNvPr id="1028" name="Picture 4" descr="C:\Users\Annelie\Desktop\JPEG av SKL diabetesutbildning\Fakta-web-140129_Page_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5871" y="2064319"/>
            <a:ext cx="2080260" cy="305038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Annelie\Desktop\JPEG av SKL diabetesutbildning\Mina sidor\Fakta-web-140129_Page_19_Page_0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0132" y="2060848"/>
            <a:ext cx="2080260" cy="305038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Annelie\Desktop\JPEG av SKL diabetesutbildning\Handledarmanual\Handledarmanual_Page_0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2060849"/>
            <a:ext cx="2080260" cy="305038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ruta 5"/>
          <p:cNvSpPr txBox="1"/>
          <p:nvPr/>
        </p:nvSpPr>
        <p:spPr>
          <a:xfrm>
            <a:off x="179512" y="637203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Grupputbildning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478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143000"/>
          </a:xfrm>
        </p:spPr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Om du får tecken på lågt blodsocker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>
          <a:xfrm>
            <a:off x="467544" y="2060848"/>
            <a:ext cx="8229600" cy="4060824"/>
          </a:xfrm>
        </p:spPr>
        <p:txBody>
          <a:bodyPr>
            <a:normAutofit/>
          </a:bodyPr>
          <a:lstStyle/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Svettning</a:t>
            </a:r>
          </a:p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Yrsel och darrning</a:t>
            </a:r>
          </a:p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Huvudvärk</a:t>
            </a:r>
          </a:p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Hunger</a:t>
            </a:r>
          </a:p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Synstörning</a:t>
            </a:r>
          </a:p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Irritation, aggressivitet</a:t>
            </a:r>
          </a:p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Blekhet</a:t>
            </a:r>
          </a:p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Svårt att hålla koncentrationen</a:t>
            </a:r>
            <a:endParaRPr lang="sv-SE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4294967295"/>
          </p:nvPr>
        </p:nvSpPr>
        <p:spPr>
          <a:xfrm>
            <a:off x="432048" y="1535113"/>
            <a:ext cx="1403648" cy="639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400" dirty="0" smtClean="0">
                <a:solidFill>
                  <a:schemeClr val="accent1">
                    <a:lumMod val="75000"/>
                  </a:schemeClr>
                </a:solidFill>
              </a:rPr>
              <a:t>Tecken:</a:t>
            </a:r>
            <a:endParaRPr lang="sv-SE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4294967295"/>
          </p:nvPr>
        </p:nvSpPr>
        <p:spPr>
          <a:xfrm>
            <a:off x="5102225" y="1535113"/>
            <a:ext cx="4041775" cy="63976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400" dirty="0" smtClean="0">
                <a:solidFill>
                  <a:schemeClr val="accent1">
                    <a:lumMod val="75000"/>
                  </a:schemeClr>
                </a:solidFill>
              </a:rPr>
              <a:t>Gör så här:</a:t>
            </a:r>
            <a:endParaRPr lang="sv-SE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294967295"/>
          </p:nvPr>
        </p:nvSpPr>
        <p:spPr>
          <a:xfrm>
            <a:off x="5102225" y="2060848"/>
            <a:ext cx="4041775" cy="3951288"/>
          </a:xfrm>
        </p:spPr>
        <p:txBody>
          <a:bodyPr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Mät blodsockret</a:t>
            </a:r>
          </a:p>
          <a:p>
            <a:pPr>
              <a:spcAft>
                <a:spcPts val="600"/>
              </a:spcAft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Är det lågt</a:t>
            </a:r>
            <a:r>
              <a:rPr lang="sv-SE" sz="20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- ta 4 druvsockertabletter*</a:t>
            </a:r>
          </a:p>
          <a:p>
            <a:pPr>
              <a:spcAft>
                <a:spcPts val="600"/>
              </a:spcAft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Kontakta sjukvården</a:t>
            </a:r>
          </a:p>
          <a:p>
            <a:pPr>
              <a:spcAft>
                <a:spcPts val="600"/>
              </a:spcAft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Kvarstår tecken efter 10-15 min ta några druvsockertabletter* till.</a:t>
            </a:r>
          </a:p>
          <a:p>
            <a:pPr>
              <a:spcAft>
                <a:spcPts val="600"/>
              </a:spcAft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Ät gärna ett mellanmål efter känningen.</a:t>
            </a:r>
            <a:endParaRPr lang="sv-SE" sz="13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sv-SE" sz="1200" dirty="0" smtClean="0">
                <a:solidFill>
                  <a:schemeClr val="accent1">
                    <a:lumMod val="75000"/>
                  </a:schemeClr>
                </a:solidFill>
              </a:rPr>
              <a:t>* Det går det lika bra med ett glas juice eller några sockerbitar.</a:t>
            </a:r>
            <a:endParaRPr lang="sv-SE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ruta 6"/>
          <p:cNvSpPr txBox="1"/>
          <p:nvPr/>
        </p:nvSpPr>
        <p:spPr>
          <a:xfrm>
            <a:off x="107504" y="6372036"/>
            <a:ext cx="34563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Viktigt att veta om diabetes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1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1143000"/>
          </a:xfrm>
        </p:spPr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Faktaguide</a:t>
            </a:r>
            <a:endParaRPr lang="sv-SE" b="0" dirty="0">
              <a:solidFill>
                <a:srgbClr val="1BA567"/>
              </a:solidFill>
            </a:endParaRPr>
          </a:p>
        </p:txBody>
      </p:sp>
      <p:pic>
        <p:nvPicPr>
          <p:cNvPr id="5" name="Picture 4" descr="C:\Users\Annelie\Desktop\JPEG av SKL diabetesutbildning\Fakta-web-140129_Page_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284" y="1784766"/>
            <a:ext cx="2496312" cy="366045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latshållare för innehåll 2"/>
          <p:cNvSpPr>
            <a:spLocks noGrp="1"/>
          </p:cNvSpPr>
          <p:nvPr>
            <p:ph sz="half" idx="1"/>
          </p:nvPr>
        </p:nvSpPr>
        <p:spPr>
          <a:xfrm>
            <a:off x="4211960" y="1700808"/>
            <a:ext cx="4038600" cy="4071550"/>
          </a:xfrm>
        </p:spPr>
        <p:txBody>
          <a:bodyPr>
            <a:normAutofit fontScale="92500" lnSpcReduction="1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1. Grupputbildning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2. Typ 2-diabetes </a:t>
            </a:r>
            <a:b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     – vad händer i kroppen?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3. Fysisk aktivitet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4. Mat och matvanor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5. Andra vanor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6. Koll på läget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7. Viktigt att veta om diabetes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8. Ordlista</a:t>
            </a:r>
          </a:p>
          <a:p>
            <a:endParaRPr lang="sv-SE" dirty="0" smtClean="0"/>
          </a:p>
          <a:p>
            <a:endParaRPr lang="sv-SE" dirty="0"/>
          </a:p>
        </p:txBody>
      </p:sp>
      <p:sp>
        <p:nvSpPr>
          <p:cNvPr id="6" name="textruta 5"/>
          <p:cNvSpPr txBox="1"/>
          <p:nvPr/>
        </p:nvSpPr>
        <p:spPr>
          <a:xfrm>
            <a:off x="179512" y="637203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Grupputbildning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433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1143000"/>
          </a:xfrm>
        </p:spPr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Mina sidor</a:t>
            </a:r>
            <a:endParaRPr lang="sv-SE" b="0" dirty="0">
              <a:solidFill>
                <a:srgbClr val="1BA567"/>
              </a:solidFill>
            </a:endParaRPr>
          </a:p>
        </p:txBody>
      </p:sp>
      <p:sp>
        <p:nvSpPr>
          <p:cNvPr id="6" name="Platshållare för innehåll 2"/>
          <p:cNvSpPr>
            <a:spLocks noGrp="1"/>
          </p:cNvSpPr>
          <p:nvPr>
            <p:ph sz="half" idx="1"/>
          </p:nvPr>
        </p:nvSpPr>
        <p:spPr>
          <a:xfrm>
            <a:off x="4067944" y="1805722"/>
            <a:ext cx="4038600" cy="4071550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1. Mitt diabetesteam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2. Behandling och mål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3. Checklista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4. Matdagbok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5. Blodsockerdagbok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6. Planering och målsättning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7. Aktivitetsdagbok </a:t>
            </a:r>
          </a:p>
          <a:p>
            <a:pPr marL="0" indent="0">
              <a:buNone/>
            </a:pPr>
            <a:endParaRPr lang="sv-SE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Picture 5" descr="C:\Users\Annelie\Desktop\JPEG av SKL diabetesutbildning\Mina sidor\Fakta-web-140129_Page_19_Page_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492" y="1588191"/>
            <a:ext cx="2496312" cy="366045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ruta 6"/>
          <p:cNvSpPr txBox="1"/>
          <p:nvPr/>
        </p:nvSpPr>
        <p:spPr>
          <a:xfrm>
            <a:off x="179512" y="6372036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Grupputbildning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974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ruta 1"/>
          <p:cNvSpPr txBox="1"/>
          <p:nvPr/>
        </p:nvSpPr>
        <p:spPr>
          <a:xfrm>
            <a:off x="0" y="476672"/>
            <a:ext cx="9144000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sv-SE" sz="3600" dirty="0" smtClean="0">
                <a:solidFill>
                  <a:srgbClr val="1BA567"/>
                </a:solidFill>
                <a:cs typeface="Arial"/>
              </a:rPr>
              <a:t>Socker och insulin</a:t>
            </a:r>
            <a:endParaRPr lang="sv-SE" sz="3600" dirty="0">
              <a:solidFill>
                <a:srgbClr val="1BA567"/>
              </a:solidFill>
              <a:cs typeface="Arial"/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107504" y="6165304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Typ 2-diabetes – vad händer i kroppen?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3074" name="Picture 2" descr="C:\Users\Annelie\Desktop\SKL\Diabetesutbildningen bilspel\Socker-och-insulin-li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4141" y="1268760"/>
            <a:ext cx="6826251" cy="452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9422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Annelie\Desktop\SKL\Diabetesutbildningen bilspel\Fysiologi-insulin-li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136" y="2015232"/>
            <a:ext cx="7061200" cy="340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ruta 2"/>
          <p:cNvSpPr txBox="1"/>
          <p:nvPr/>
        </p:nvSpPr>
        <p:spPr>
          <a:xfrm>
            <a:off x="0" y="462777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3600" dirty="0" smtClean="0">
                <a:solidFill>
                  <a:srgbClr val="1BA567"/>
                </a:solidFill>
                <a:cs typeface="Arial"/>
              </a:rPr>
              <a:t>Insulinets roll i kroppen</a:t>
            </a:r>
            <a:endParaRPr lang="sv-SE" sz="3600" dirty="0">
              <a:solidFill>
                <a:srgbClr val="1BA567"/>
              </a:solidFill>
              <a:cs typeface="Arial"/>
            </a:endParaRPr>
          </a:p>
        </p:txBody>
      </p:sp>
      <p:sp>
        <p:nvSpPr>
          <p:cNvPr id="4" name="textruta 3"/>
          <p:cNvSpPr txBox="1"/>
          <p:nvPr/>
        </p:nvSpPr>
        <p:spPr>
          <a:xfrm>
            <a:off x="369156" y="1700808"/>
            <a:ext cx="2612582" cy="954107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1400" dirty="0" smtClean="0">
                <a:solidFill>
                  <a:schemeClr val="accent1">
                    <a:lumMod val="75000"/>
                  </a:schemeClr>
                </a:solidFill>
              </a:rPr>
              <a:t>1. Efter en måltid färdas sockret i blodbanan på väg mot lagringsplatserna inne i cellerna </a:t>
            </a:r>
            <a:endParaRPr lang="sv-S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textruta 4"/>
          <p:cNvSpPr txBox="1"/>
          <p:nvPr/>
        </p:nvSpPr>
        <p:spPr>
          <a:xfrm>
            <a:off x="5292080" y="1268760"/>
            <a:ext cx="2324550" cy="738664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1400" dirty="0" smtClean="0">
                <a:solidFill>
                  <a:schemeClr val="accent1">
                    <a:lumMod val="75000"/>
                  </a:schemeClr>
                </a:solidFill>
              </a:rPr>
              <a:t>2. För att sockret ska ta sig in i cellerna måste särskilda dörrar låsas upp.  </a:t>
            </a:r>
            <a:endParaRPr lang="sv-S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7164288" y="2636912"/>
            <a:ext cx="1656184" cy="738664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1400" dirty="0" smtClean="0">
                <a:solidFill>
                  <a:schemeClr val="accent1">
                    <a:lumMod val="75000"/>
                  </a:schemeClr>
                </a:solidFill>
              </a:rPr>
              <a:t>3. Dörrarna kan endast öppnas av hormonet insulin.</a:t>
            </a:r>
            <a:endParaRPr lang="sv-S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textruta 8"/>
          <p:cNvSpPr txBox="1"/>
          <p:nvPr/>
        </p:nvSpPr>
        <p:spPr>
          <a:xfrm>
            <a:off x="6588224" y="4778568"/>
            <a:ext cx="2376264" cy="738664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1400" dirty="0" smtClean="0">
                <a:solidFill>
                  <a:schemeClr val="accent1">
                    <a:lumMod val="75000"/>
                  </a:schemeClr>
                </a:solidFill>
              </a:rPr>
              <a:t>4. När cellerna tagit hand om sockret från maten håller sig blodsockret på en bra nivå.  </a:t>
            </a:r>
            <a:endParaRPr lang="sv-S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4" name="Rak pil 13"/>
          <p:cNvCxnSpPr/>
          <p:nvPr/>
        </p:nvCxnSpPr>
        <p:spPr>
          <a:xfrm>
            <a:off x="1259632" y="2708920"/>
            <a:ext cx="1944216" cy="1008112"/>
          </a:xfrm>
          <a:prstGeom prst="straightConnector1">
            <a:avLst/>
          </a:prstGeom>
          <a:ln w="76200" cmpd="sng">
            <a:solidFill>
              <a:schemeClr val="accent3">
                <a:lumMod val="50000"/>
              </a:schemeClr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Rak pil 19"/>
          <p:cNvCxnSpPr/>
          <p:nvPr/>
        </p:nvCxnSpPr>
        <p:spPr>
          <a:xfrm flipH="1">
            <a:off x="4500563" y="2204864"/>
            <a:ext cx="575493" cy="792088"/>
          </a:xfrm>
          <a:prstGeom prst="straightConnector1">
            <a:avLst/>
          </a:prstGeom>
          <a:ln w="76200" cmpd="sng">
            <a:solidFill>
              <a:srgbClr val="7E0000"/>
            </a:solidFill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ruta 9"/>
          <p:cNvSpPr txBox="1"/>
          <p:nvPr/>
        </p:nvSpPr>
        <p:spPr>
          <a:xfrm>
            <a:off x="107504" y="6165304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Typ 2-diabetes – vad händer i kroppen?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95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Annelie\Desktop\SKL\Diabetesutbildningen bilspel\Dysmetabolt-syndrom-lite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80468"/>
            <a:ext cx="6635751" cy="358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ruta 2"/>
          <p:cNvSpPr txBox="1"/>
          <p:nvPr/>
        </p:nvSpPr>
        <p:spPr>
          <a:xfrm>
            <a:off x="0" y="476672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3600" dirty="0" smtClean="0">
                <a:solidFill>
                  <a:srgbClr val="1BA567"/>
                </a:solidFill>
              </a:rPr>
              <a:t>Så utvecklas typ 2-diabetes </a:t>
            </a:r>
            <a:endParaRPr lang="sv-SE" sz="3600" dirty="0">
              <a:solidFill>
                <a:srgbClr val="1BA567"/>
              </a:solidFill>
            </a:endParaRPr>
          </a:p>
        </p:txBody>
      </p:sp>
      <p:sp>
        <p:nvSpPr>
          <p:cNvPr id="7" name="textruta 6"/>
          <p:cNvSpPr txBox="1"/>
          <p:nvPr/>
        </p:nvSpPr>
        <p:spPr>
          <a:xfrm>
            <a:off x="323528" y="1484784"/>
            <a:ext cx="2612582" cy="830997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1</a:t>
            </a:r>
            <a:r>
              <a:rPr lang="sv-SE" sz="1400" dirty="0" smtClean="0">
                <a:solidFill>
                  <a:schemeClr val="accent1">
                    <a:lumMod val="75000"/>
                  </a:schemeClr>
                </a:solidFill>
              </a:rPr>
              <a:t>. Om kroppen får mycket fett och socker cellernas energidepåer fulla</a:t>
            </a:r>
            <a:endParaRPr lang="sv-S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683568" y="4941168"/>
            <a:ext cx="2592288" cy="830997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2</a:t>
            </a:r>
            <a:r>
              <a:rPr lang="sv-SE" sz="1400" dirty="0" smtClean="0">
                <a:solidFill>
                  <a:schemeClr val="accent1">
                    <a:lumMod val="75000"/>
                  </a:schemeClr>
                </a:solidFill>
              </a:rPr>
              <a:t>. När energidepåerna fyllts kan insulin inte längre öppna celldörrarna</a:t>
            </a:r>
            <a:endParaRPr lang="sv-S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6084168" y="4941168"/>
            <a:ext cx="2376264" cy="830997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2000" dirty="0">
                <a:solidFill>
                  <a:schemeClr val="accent1">
                    <a:lumMod val="75000"/>
                  </a:schemeClr>
                </a:solidFill>
              </a:rPr>
              <a:t>3</a:t>
            </a:r>
            <a:r>
              <a:rPr lang="sv-SE" sz="1400" dirty="0" smtClean="0">
                <a:solidFill>
                  <a:schemeClr val="accent1">
                    <a:lumMod val="75000"/>
                  </a:schemeClr>
                </a:solidFill>
              </a:rPr>
              <a:t>. Sockret stannar kvar i blodbanan vilket leder till ett högt blodsocker</a:t>
            </a:r>
            <a:endParaRPr lang="sv-S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1" name="textruta 10"/>
          <p:cNvSpPr txBox="1"/>
          <p:nvPr/>
        </p:nvSpPr>
        <p:spPr>
          <a:xfrm>
            <a:off x="5076056" y="1268760"/>
            <a:ext cx="2376264" cy="1046440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4</a:t>
            </a:r>
            <a:r>
              <a:rPr lang="sv-SE" sz="1400" dirty="0" smtClean="0">
                <a:solidFill>
                  <a:schemeClr val="accent1">
                    <a:lumMod val="75000"/>
                  </a:schemeClr>
                </a:solidFill>
              </a:rPr>
              <a:t>. Ett högt blodsocker är en signal till bukspottskörteln att tillverka mer insulin</a:t>
            </a:r>
            <a:endParaRPr lang="sv-S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textruta 11"/>
          <p:cNvSpPr txBox="1"/>
          <p:nvPr/>
        </p:nvSpPr>
        <p:spPr>
          <a:xfrm>
            <a:off x="6300192" y="2743180"/>
            <a:ext cx="2736304" cy="1261884"/>
          </a:xfrm>
          <a:prstGeom prst="rect">
            <a:avLst/>
          </a:prstGeom>
          <a:noFill/>
          <a:ln w="31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sv-SE" sz="2000" dirty="0" smtClean="0">
                <a:solidFill>
                  <a:schemeClr val="accent1">
                    <a:lumMod val="75000"/>
                  </a:schemeClr>
                </a:solidFill>
              </a:rPr>
              <a:t>5</a:t>
            </a:r>
            <a:r>
              <a:rPr lang="sv-SE" sz="1400" dirty="0" smtClean="0">
                <a:solidFill>
                  <a:schemeClr val="accent1">
                    <a:lumMod val="75000"/>
                  </a:schemeClr>
                </a:solidFill>
              </a:rPr>
              <a:t>. När bukspottkörteln gått på högvarv en längre tid blir bukspottkörteln uttröttad och tillverkar istället mindre insulin än normalt.  </a:t>
            </a:r>
            <a:endParaRPr lang="sv-SE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4" name="Rak pil 13"/>
          <p:cNvCxnSpPr>
            <a:stCxn id="11" idx="1"/>
          </p:cNvCxnSpPr>
          <p:nvPr/>
        </p:nvCxnSpPr>
        <p:spPr>
          <a:xfrm flipH="1">
            <a:off x="4211960" y="1791980"/>
            <a:ext cx="864096" cy="196860"/>
          </a:xfrm>
          <a:prstGeom prst="straightConnector1">
            <a:avLst/>
          </a:prstGeom>
          <a:ln w="76200" cmpd="sng">
            <a:solidFill>
              <a:srgbClr val="7E0000"/>
            </a:solidFill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Rak pil 17"/>
          <p:cNvCxnSpPr/>
          <p:nvPr/>
        </p:nvCxnSpPr>
        <p:spPr>
          <a:xfrm flipH="1" flipV="1">
            <a:off x="4860032" y="4653136"/>
            <a:ext cx="1152128" cy="504056"/>
          </a:xfrm>
          <a:prstGeom prst="straightConnector1">
            <a:avLst/>
          </a:prstGeom>
          <a:ln w="76200" cmpd="sng">
            <a:solidFill>
              <a:srgbClr val="7E0000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ruta 14"/>
          <p:cNvSpPr txBox="1"/>
          <p:nvPr/>
        </p:nvSpPr>
        <p:spPr>
          <a:xfrm>
            <a:off x="107504" y="6165304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Typ 2-diabetes – vad händer i kroppen?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650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algn="ctr"/>
            <a:r>
              <a:rPr lang="sv-SE" b="0" dirty="0" smtClean="0">
                <a:solidFill>
                  <a:srgbClr val="1BA567"/>
                </a:solidFill>
              </a:rPr>
              <a:t>Långtidsblodsocker HbA1c</a:t>
            </a:r>
            <a:endParaRPr lang="sv-SE" b="0" dirty="0">
              <a:solidFill>
                <a:srgbClr val="1BA567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1628800"/>
            <a:ext cx="5498592" cy="3511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ruta 5"/>
          <p:cNvSpPr txBox="1"/>
          <p:nvPr/>
        </p:nvSpPr>
        <p:spPr>
          <a:xfrm>
            <a:off x="179512" y="6093296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2">
                    <a:lumMod val="50000"/>
                  </a:schemeClr>
                </a:solidFill>
              </a:rPr>
              <a:t>Typ 2-diabetes – vad händer i kroppen?</a:t>
            </a:r>
            <a:endParaRPr lang="sv-S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530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eM1PC4TkKvwmuCqkgRoA"/>
</p:tagLst>
</file>

<file path=ppt/theme/theme1.xml><?xml version="1.0" encoding="utf-8"?>
<a:theme xmlns:a="http://schemas.openxmlformats.org/drawingml/2006/main" name="22_SKL Grön fot">
  <a:themeElements>
    <a:clrScheme name="SKL">
      <a:dk1>
        <a:sysClr val="windowText" lastClr="000000"/>
      </a:dk1>
      <a:lt1>
        <a:sysClr val="window" lastClr="FFFFFF"/>
      </a:lt1>
      <a:dk2>
        <a:srgbClr val="4D4D4D"/>
      </a:dk2>
      <a:lt2>
        <a:srgbClr val="EEECE1"/>
      </a:lt2>
      <a:accent1>
        <a:srgbClr val="006428"/>
      </a:accent1>
      <a:accent2>
        <a:srgbClr val="005A9B"/>
      </a:accent2>
      <a:accent3>
        <a:srgbClr val="B9141E"/>
      </a:accent3>
      <a:accent4>
        <a:srgbClr val="5A5A96"/>
      </a:accent4>
      <a:accent5>
        <a:srgbClr val="8C7D6E"/>
      </a:accent5>
      <a:accent6>
        <a:srgbClr val="E6460A"/>
      </a:accent6>
      <a:hlink>
        <a:srgbClr val="0000FF"/>
      </a:hlink>
      <a:folHlink>
        <a:srgbClr val="800080"/>
      </a:folHlink>
    </a:clrScheme>
    <a:fontScheme name="_SK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00</TotalTime>
  <Words>1848</Words>
  <Application>Microsoft Office PowerPoint</Application>
  <PresentationFormat>Bildspel på skärmen (4:3)</PresentationFormat>
  <Paragraphs>257</Paragraphs>
  <Slides>30</Slides>
  <Notes>29</Notes>
  <HiddenSlides>0</HiddenSlides>
  <MMClips>0</MMClips>
  <ScaleCrop>false</ScaleCrop>
  <HeadingPairs>
    <vt:vector size="6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Bildrubriker</vt:lpstr>
      </vt:variant>
      <vt:variant>
        <vt:i4>30</vt:i4>
      </vt:variant>
    </vt:vector>
  </HeadingPairs>
  <TitlesOfParts>
    <vt:vector size="36" baseType="lpstr">
      <vt:lpstr>Arial</vt:lpstr>
      <vt:lpstr>Calibri</vt:lpstr>
      <vt:lpstr>Georgia</vt:lpstr>
      <vt:lpstr>Verdana</vt:lpstr>
      <vt:lpstr>Wingdings</vt:lpstr>
      <vt:lpstr>22_SKL Grön fot</vt:lpstr>
      <vt:lpstr>Grupputbildning </vt:lpstr>
      <vt:lpstr>PowerPoint-presentation</vt:lpstr>
      <vt:lpstr>Grupputbildningsmaterial</vt:lpstr>
      <vt:lpstr>Faktaguide</vt:lpstr>
      <vt:lpstr>Mina sidor</vt:lpstr>
      <vt:lpstr>PowerPoint-presentation</vt:lpstr>
      <vt:lpstr>PowerPoint-presentation</vt:lpstr>
      <vt:lpstr>PowerPoint-presentation</vt:lpstr>
      <vt:lpstr>Långtidsblodsocker HbA1c</vt:lpstr>
      <vt:lpstr>Åderförfettning</vt:lpstr>
      <vt:lpstr>PowerPoint-presentation</vt:lpstr>
      <vt:lpstr>Fysisk aktivitet</vt:lpstr>
      <vt:lpstr>Hitta din nivå</vt:lpstr>
      <vt:lpstr>Livsmedel som skyddar</vt:lpstr>
      <vt:lpstr>Forskningssammanställning från SBU visar:</vt:lpstr>
      <vt:lpstr>Huvudsakliga energikällor i de undersökta kosterna</vt:lpstr>
      <vt:lpstr>Vilka koster är bra vid diabetes?</vt:lpstr>
      <vt:lpstr>Medelhavskost</vt:lpstr>
      <vt:lpstr>Måttlig lågkolhydratkost</vt:lpstr>
      <vt:lpstr>Traditionell diabeteskost</vt:lpstr>
      <vt:lpstr>Traditionell diabeteskost med lågt GI</vt:lpstr>
      <vt:lpstr>Vilka koster rekommenderas inte  vid diabetes?</vt:lpstr>
      <vt:lpstr>Extrem lågkolhydratkost</vt:lpstr>
      <vt:lpstr>Smarta val vid diabetes</vt:lpstr>
      <vt:lpstr>Övervikt</vt:lpstr>
      <vt:lpstr>Övervikt</vt:lpstr>
      <vt:lpstr>Andra viktiga vanor vid diabetes</vt:lpstr>
      <vt:lpstr>Prover och undersökningar</vt:lpstr>
      <vt:lpstr>Högt blodsocker</vt:lpstr>
      <vt:lpstr>Om du får tecken på lågt blodsocker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elie</dc:creator>
  <cp:lastModifiedBy>Stockenstrand Martin</cp:lastModifiedBy>
  <cp:revision>195</cp:revision>
  <cp:lastPrinted>2014-03-18T12:31:26Z</cp:lastPrinted>
  <dcterms:created xsi:type="dcterms:W3CDTF">2013-01-23T13:22:00Z</dcterms:created>
  <dcterms:modified xsi:type="dcterms:W3CDTF">2015-11-04T13:52:35Z</dcterms:modified>
</cp:coreProperties>
</file>